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sldIdLst>
    <p:sldId id="2134806082" r:id="rId5"/>
    <p:sldId id="2134806083" r:id="rId6"/>
  </p:sldIdLst>
  <p:sldSz cx="12192000" cy="6858000"/>
  <p:notesSz cx="6858000" cy="9144000"/>
  <p:defaultTextStyle>
    <a:defPPr>
      <a:defRPr lang="en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8860C"/>
    <a:srgbClr val="FCD966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C399E0-00AE-BB43-8B98-114FA924353E}" v="26" dt="2022-03-03T08:31:25.05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rs Rijswijk" userId="a2b5573e-1ec8-4651-83e8-963c615fccea" providerId="ADAL" clId="{64C399E0-00AE-BB43-8B98-114FA924353E}"/>
    <pc:docChg chg="custSel modSld">
      <pc:chgData name="Lars Rijswijk" userId="a2b5573e-1ec8-4651-83e8-963c615fccea" providerId="ADAL" clId="{64C399E0-00AE-BB43-8B98-114FA924353E}" dt="2022-03-03T08:31:25.053" v="63" actId="20577"/>
      <pc:docMkLst>
        <pc:docMk/>
      </pc:docMkLst>
      <pc:sldChg chg="modSp mod">
        <pc:chgData name="Lars Rijswijk" userId="a2b5573e-1ec8-4651-83e8-963c615fccea" providerId="ADAL" clId="{64C399E0-00AE-BB43-8B98-114FA924353E}" dt="2022-03-03T08:29:03.947" v="37" actId="1036"/>
        <pc:sldMkLst>
          <pc:docMk/>
          <pc:sldMk cId="3531949427" sldId="2134806082"/>
        </pc:sldMkLst>
        <pc:spChg chg="mod">
          <ac:chgData name="Lars Rijswijk" userId="a2b5573e-1ec8-4651-83e8-963c615fccea" providerId="ADAL" clId="{64C399E0-00AE-BB43-8B98-114FA924353E}" dt="2022-03-03T08:29:03.947" v="37" actId="1036"/>
          <ac:spMkLst>
            <pc:docMk/>
            <pc:sldMk cId="3531949427" sldId="2134806082"/>
            <ac:spMk id="25" creationId="{822BD33B-8C89-9846-BF28-AF9CD3AFD243}"/>
          </ac:spMkLst>
        </pc:spChg>
        <pc:spChg chg="mod">
          <ac:chgData name="Lars Rijswijk" userId="a2b5573e-1ec8-4651-83e8-963c615fccea" providerId="ADAL" clId="{64C399E0-00AE-BB43-8B98-114FA924353E}" dt="2022-03-03T08:26:54.670" v="34" actId="20577"/>
          <ac:spMkLst>
            <pc:docMk/>
            <pc:sldMk cId="3531949427" sldId="2134806082"/>
            <ac:spMk id="44" creationId="{C6968029-EB8C-F14D-A4D1-13DD25D90961}"/>
          </ac:spMkLst>
        </pc:spChg>
        <pc:spChg chg="mod">
          <ac:chgData name="Lars Rijswijk" userId="a2b5573e-1ec8-4651-83e8-963c615fccea" providerId="ADAL" clId="{64C399E0-00AE-BB43-8B98-114FA924353E}" dt="2022-03-03T08:26:27.657" v="10" actId="20577"/>
          <ac:spMkLst>
            <pc:docMk/>
            <pc:sldMk cId="3531949427" sldId="2134806082"/>
            <ac:spMk id="45" creationId="{FA28D139-BBC9-D04B-B7F5-F0544D72B851}"/>
          </ac:spMkLst>
        </pc:spChg>
      </pc:sldChg>
      <pc:sldChg chg="modSp mod">
        <pc:chgData name="Lars Rijswijk" userId="a2b5573e-1ec8-4651-83e8-963c615fccea" providerId="ADAL" clId="{64C399E0-00AE-BB43-8B98-114FA924353E}" dt="2022-03-03T08:31:25.053" v="63" actId="20577"/>
        <pc:sldMkLst>
          <pc:docMk/>
          <pc:sldMk cId="2190858543" sldId="2134806083"/>
        </pc:sldMkLst>
        <pc:spChg chg="mod">
          <ac:chgData name="Lars Rijswijk" userId="a2b5573e-1ec8-4651-83e8-963c615fccea" providerId="ADAL" clId="{64C399E0-00AE-BB43-8B98-114FA924353E}" dt="2022-03-03T08:31:25.053" v="63" actId="20577"/>
          <ac:spMkLst>
            <pc:docMk/>
            <pc:sldMk cId="2190858543" sldId="2134806083"/>
            <ac:spMk id="47" creationId="{52F2BD02-E934-714B-8001-2F9CED0E2596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8.xml"/><Relationship Id="rId7" Type="http://schemas.openxmlformats.org/officeDocument/2006/relationships/image" Target="../media/image10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30.xml"/><Relationship Id="rId7" Type="http://schemas.openxmlformats.org/officeDocument/2006/relationships/image" Target="../media/image11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1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32.xml"/><Relationship Id="rId7" Type="http://schemas.openxmlformats.org/officeDocument/2006/relationships/image" Target="../media/image12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34.xml"/><Relationship Id="rId7" Type="http://schemas.openxmlformats.org/officeDocument/2006/relationships/image" Target="../media/image13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tags" Target="../tags/tag36.xml"/><Relationship Id="rId7" Type="http://schemas.openxmlformats.org/officeDocument/2006/relationships/image" Target="../media/image14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3" Type="http://schemas.openxmlformats.org/officeDocument/2006/relationships/tags" Target="../tags/tag38.xml"/><Relationship Id="rId7" Type="http://schemas.openxmlformats.org/officeDocument/2006/relationships/image" Target="../media/image15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openxmlformats.org/officeDocument/2006/relationships/tags" Target="../tags/tag40.xml"/><Relationship Id="rId7" Type="http://schemas.openxmlformats.org/officeDocument/2006/relationships/image" Target="../media/image16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3" Type="http://schemas.openxmlformats.org/officeDocument/2006/relationships/tags" Target="../tags/tag42.xml"/><Relationship Id="rId7" Type="http://schemas.openxmlformats.org/officeDocument/2006/relationships/image" Target="../media/image17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8.jpeg"/><Relationship Id="rId2" Type="http://schemas.openxmlformats.org/officeDocument/2006/relationships/tags" Target="../tags/tag4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18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.xml"/><Relationship Id="rId7" Type="http://schemas.openxmlformats.org/officeDocument/2006/relationships/image" Target="../media/image6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9.xml"/><Relationship Id="rId7" Type="http://schemas.openxmlformats.org/officeDocument/2006/relationships/image" Target="../media/image6.jpe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1.xml"/><Relationship Id="rId7" Type="http://schemas.openxmlformats.org/officeDocument/2006/relationships/image" Target="../media/image8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3.xml"/><Relationship Id="rId7" Type="http://schemas.openxmlformats.org/officeDocument/2006/relationships/image" Target="../media/image9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AF0A551-91DE-4EF1-80B6-31E08BF4E2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3870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AF0A551-91DE-4EF1-80B6-31E08BF4E2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78B26B-85C9-444F-9F7B-F4515FBF45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 vert="horz">
            <a:normAutofit/>
          </a:bodyPr>
          <a:lstStyle>
            <a:lvl1pPr algn="ctr">
              <a:defRPr sz="7200"/>
            </a:lvl1pPr>
          </a:lstStyle>
          <a:p>
            <a:r>
              <a:rPr lang="nl-NL"/>
              <a:t>Covers </a:t>
            </a:r>
            <a:r>
              <a:rPr lang="nl-NL" err="1"/>
              <a:t>and</a:t>
            </a:r>
            <a:r>
              <a:rPr lang="nl-NL"/>
              <a:t> </a:t>
            </a:r>
            <a:r>
              <a:rPr lang="nl-NL" err="1"/>
              <a:t>table</a:t>
            </a:r>
            <a:r>
              <a:rPr lang="nl-NL"/>
              <a:t> of content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7709BE-6F82-4985-84A3-BCAC52CF23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0726" y="6491605"/>
            <a:ext cx="14105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3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3131893D-A0E0-4BEF-8FC1-EE1E60E7E04A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530442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acro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E51F833D-352D-4515-AF84-E56DB146A7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F8B699-DD38-42C8-A184-EB2EA2184F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59475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F8B699-DD38-42C8-A184-EB2EA2184F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4FAE316-F8C0-4914-838B-6D718D1247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05850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nl-NL" err="1"/>
              <a:t>Titl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come</a:t>
            </a:r>
            <a:endParaRPr lang="nl-NL"/>
          </a:p>
        </p:txBody>
      </p:sp>
      <p:sp>
        <p:nvSpPr>
          <p:cNvPr id="13" name="Tijdelijke aanduiding voor tekst 2">
            <a:extLst>
              <a:ext uri="{FF2B5EF4-FFF2-40B4-BE49-F238E27FC236}">
                <a16:creationId xmlns:a16="http://schemas.microsoft.com/office/drawing/2014/main" id="{88A4682C-6F44-4EBA-94C6-5F0FAF69A0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54060"/>
            <a:ext cx="10515600" cy="42229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  <a:p>
            <a:pPr lvl="1"/>
            <a:r>
              <a:rPr lang="en-GB" noProof="0" err="1"/>
              <a:t>Twee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2"/>
            <a:r>
              <a:rPr lang="en-GB" noProof="0" err="1"/>
              <a:t>D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3"/>
            <a:r>
              <a:rPr lang="en-GB" noProof="0" err="1"/>
              <a:t>Vi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4"/>
            <a:r>
              <a:rPr lang="en-GB" noProof="0" err="1"/>
              <a:t>Vijf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</p:txBody>
      </p:sp>
      <p:sp>
        <p:nvSpPr>
          <p:cNvPr id="10" name="Content Placeholder 32">
            <a:extLst>
              <a:ext uri="{FF2B5EF4-FFF2-40B4-BE49-F238E27FC236}">
                <a16:creationId xmlns:a16="http://schemas.microsoft.com/office/drawing/2014/main" id="{A8A7B983-D9B4-4F10-807A-441B71004A5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8200" y="1087422"/>
            <a:ext cx="10515600" cy="3603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14" name="Content Placeholder 32">
            <a:extLst>
              <a:ext uri="{FF2B5EF4-FFF2-40B4-BE49-F238E27FC236}">
                <a16:creationId xmlns:a16="http://schemas.microsoft.com/office/drawing/2014/main" id="{B0D3F5FE-EE35-4E90-BCF3-2EBA482864A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38200" y="1644858"/>
            <a:ext cx="10515600" cy="3603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9CC6F20-CD5C-4A7E-A9CB-2C92C82702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0726" y="6491605"/>
            <a:ext cx="14105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3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3131893D-A0E0-4BEF-8FC1-EE1E60E7E04A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9513DE4-D848-4B50-878B-CFB68A9D9E56}"/>
              </a:ext>
            </a:extLst>
          </p:cNvPr>
          <p:cNvSpPr/>
          <p:nvPr userDrawn="1"/>
        </p:nvSpPr>
        <p:spPr>
          <a:xfrm>
            <a:off x="-1546860" y="0"/>
            <a:ext cx="1272540" cy="7391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75E7E7D-D17B-4847-B2EF-365940A996F9}"/>
              </a:ext>
            </a:extLst>
          </p:cNvPr>
          <p:cNvSpPr/>
          <p:nvPr userDrawn="1"/>
        </p:nvSpPr>
        <p:spPr>
          <a:xfrm>
            <a:off x="-1546860" y="1019598"/>
            <a:ext cx="1272540" cy="7391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BEEDAB4-76FE-4072-9EEA-1B928D1EE4B4}"/>
              </a:ext>
            </a:extLst>
          </p:cNvPr>
          <p:cNvSpPr/>
          <p:nvPr userDrawn="1"/>
        </p:nvSpPr>
        <p:spPr>
          <a:xfrm>
            <a:off x="-1546860" y="2039196"/>
            <a:ext cx="1272540" cy="7391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C227D19-C93C-4A36-9D69-ED92CC552CCB}"/>
              </a:ext>
            </a:extLst>
          </p:cNvPr>
          <p:cNvSpPr/>
          <p:nvPr userDrawn="1"/>
        </p:nvSpPr>
        <p:spPr>
          <a:xfrm>
            <a:off x="-1546860" y="3058794"/>
            <a:ext cx="1272540" cy="73914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F994840-8C17-4EF3-95C4-CB401EA474F4}"/>
              </a:ext>
            </a:extLst>
          </p:cNvPr>
          <p:cNvSpPr/>
          <p:nvPr userDrawn="1"/>
        </p:nvSpPr>
        <p:spPr>
          <a:xfrm>
            <a:off x="-1546860" y="4078392"/>
            <a:ext cx="1272540" cy="7391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FCECBF4-2E58-4307-95E7-F4FA4E37BEFA}"/>
              </a:ext>
            </a:extLst>
          </p:cNvPr>
          <p:cNvSpPr/>
          <p:nvPr userDrawn="1"/>
        </p:nvSpPr>
        <p:spPr>
          <a:xfrm>
            <a:off x="-1546860" y="5097990"/>
            <a:ext cx="1272540" cy="73914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6585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2 acro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o not remove" hidden="1">
            <a:extLst>
              <a:ext uri="{FF2B5EF4-FFF2-40B4-BE49-F238E27FC236}">
                <a16:creationId xmlns:a16="http://schemas.microsoft.com/office/drawing/2014/main" id="{1AA8C73C-7DB1-4FC4-A4E5-9990F49CDF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F8B699-DD38-42C8-A184-EB2EA2184F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05680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F8B699-DD38-42C8-A184-EB2EA2184F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4FAE316-F8C0-4914-838B-6D718D1247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05850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nl-NL" err="1"/>
              <a:t>Titl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come</a:t>
            </a:r>
            <a:endParaRPr lang="nl-NL"/>
          </a:p>
        </p:txBody>
      </p:sp>
      <p:sp>
        <p:nvSpPr>
          <p:cNvPr id="13" name="Tijdelijke aanduiding voor tekst 2">
            <a:extLst>
              <a:ext uri="{FF2B5EF4-FFF2-40B4-BE49-F238E27FC236}">
                <a16:creationId xmlns:a16="http://schemas.microsoft.com/office/drawing/2014/main" id="{88A4682C-6F44-4EBA-94C6-5F0FAF69A0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54061"/>
            <a:ext cx="10515600" cy="180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  <a:p>
            <a:pPr lvl="1"/>
            <a:r>
              <a:rPr lang="en-GB" noProof="0" err="1"/>
              <a:t>Twee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2"/>
            <a:r>
              <a:rPr lang="en-GB" noProof="0" err="1"/>
              <a:t>D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3"/>
            <a:r>
              <a:rPr lang="en-GB" noProof="0" err="1"/>
              <a:t>Vi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4"/>
            <a:r>
              <a:rPr lang="en-GB" noProof="0" err="1"/>
              <a:t>Vijf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</p:txBody>
      </p:sp>
      <p:sp>
        <p:nvSpPr>
          <p:cNvPr id="10" name="Content Placeholder 32">
            <a:extLst>
              <a:ext uri="{FF2B5EF4-FFF2-40B4-BE49-F238E27FC236}">
                <a16:creationId xmlns:a16="http://schemas.microsoft.com/office/drawing/2014/main" id="{A8A7B983-D9B4-4F10-807A-441B71004A5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8200" y="1087422"/>
            <a:ext cx="10515600" cy="3603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14" name="Content Placeholder 32">
            <a:extLst>
              <a:ext uri="{FF2B5EF4-FFF2-40B4-BE49-F238E27FC236}">
                <a16:creationId xmlns:a16="http://schemas.microsoft.com/office/drawing/2014/main" id="{B0D3F5FE-EE35-4E90-BCF3-2EBA482864A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38200" y="1644858"/>
            <a:ext cx="10515600" cy="3603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9" name="Content Placeholder 32">
            <a:extLst>
              <a:ext uri="{FF2B5EF4-FFF2-40B4-BE49-F238E27FC236}">
                <a16:creationId xmlns:a16="http://schemas.microsoft.com/office/drawing/2014/main" id="{108D68B3-BF57-4949-9286-34295D5FD6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38200" y="4063264"/>
            <a:ext cx="10515600" cy="3603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11" name="Tijdelijke aanduiding voor tekst 2">
            <a:extLst>
              <a:ext uri="{FF2B5EF4-FFF2-40B4-BE49-F238E27FC236}">
                <a16:creationId xmlns:a16="http://schemas.microsoft.com/office/drawing/2014/main" id="{E5B8B8D1-A839-480C-9E82-F36E9AB3EF05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38200" y="4376963"/>
            <a:ext cx="10515600" cy="180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  <a:p>
            <a:pPr lvl="1"/>
            <a:r>
              <a:rPr lang="en-GB" noProof="0" err="1"/>
              <a:t>Twee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2"/>
            <a:r>
              <a:rPr lang="en-GB" noProof="0" err="1"/>
              <a:t>D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3"/>
            <a:r>
              <a:rPr lang="en-GB" noProof="0" err="1"/>
              <a:t>Vi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4"/>
            <a:r>
              <a:rPr lang="en-GB" noProof="0" err="1"/>
              <a:t>Vijf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AD701AB-6E3A-409E-BC02-F3B691AA4C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0726" y="6491605"/>
            <a:ext cx="14105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3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3131893D-A0E0-4BEF-8FC1-EE1E60E7E04A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F60C5B0-5EC5-4984-B5E4-95B2C80A5B65}"/>
              </a:ext>
            </a:extLst>
          </p:cNvPr>
          <p:cNvSpPr/>
          <p:nvPr userDrawn="1"/>
        </p:nvSpPr>
        <p:spPr>
          <a:xfrm>
            <a:off x="-1546860" y="0"/>
            <a:ext cx="1272540" cy="7391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69D18E4-119C-4FC8-81C0-83FA31E96BC0}"/>
              </a:ext>
            </a:extLst>
          </p:cNvPr>
          <p:cNvSpPr/>
          <p:nvPr userDrawn="1"/>
        </p:nvSpPr>
        <p:spPr>
          <a:xfrm>
            <a:off x="-1546860" y="1019598"/>
            <a:ext cx="1272540" cy="7391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C29F32C-3F19-4F97-81A4-D751FFEB0639}"/>
              </a:ext>
            </a:extLst>
          </p:cNvPr>
          <p:cNvSpPr/>
          <p:nvPr userDrawn="1"/>
        </p:nvSpPr>
        <p:spPr>
          <a:xfrm>
            <a:off x="-1546860" y="2039196"/>
            <a:ext cx="1272540" cy="7391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AAD06DC-7503-4D85-9AE5-BF6E568BFDA9}"/>
              </a:ext>
            </a:extLst>
          </p:cNvPr>
          <p:cNvSpPr/>
          <p:nvPr userDrawn="1"/>
        </p:nvSpPr>
        <p:spPr>
          <a:xfrm>
            <a:off x="-1546860" y="3058794"/>
            <a:ext cx="1272540" cy="73914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18D58E-0EBF-43C5-8172-5AD2C14C7079}"/>
              </a:ext>
            </a:extLst>
          </p:cNvPr>
          <p:cNvSpPr/>
          <p:nvPr userDrawn="1"/>
        </p:nvSpPr>
        <p:spPr>
          <a:xfrm>
            <a:off x="-1546860" y="4078392"/>
            <a:ext cx="1272540" cy="7391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5B699A8-CA86-4944-A733-F6D8353DCFF3}"/>
              </a:ext>
            </a:extLst>
          </p:cNvPr>
          <p:cNvSpPr/>
          <p:nvPr userDrawn="1"/>
        </p:nvSpPr>
        <p:spPr>
          <a:xfrm>
            <a:off x="-1546860" y="5097990"/>
            <a:ext cx="1272540" cy="73914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5728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acro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235972F7-6ADD-4837-828B-D027CEA969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F8B699-DD38-42C8-A184-EB2EA2184F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35733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F8B699-DD38-42C8-A184-EB2EA2184F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jdelijke aanduiding voor tekst 2">
            <a:extLst>
              <a:ext uri="{FF2B5EF4-FFF2-40B4-BE49-F238E27FC236}">
                <a16:creationId xmlns:a16="http://schemas.microsoft.com/office/drawing/2014/main" id="{88A4682C-6F44-4EBA-94C6-5F0FAF69A0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54060"/>
            <a:ext cx="5220000" cy="42229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  <a:p>
            <a:pPr lvl="1"/>
            <a:r>
              <a:rPr lang="en-GB" noProof="0" err="1"/>
              <a:t>Twee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2"/>
            <a:r>
              <a:rPr lang="en-GB" noProof="0" err="1"/>
              <a:t>D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3"/>
            <a:r>
              <a:rPr lang="en-GB" noProof="0" err="1"/>
              <a:t>Vi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4"/>
            <a:r>
              <a:rPr lang="en-GB" noProof="0" err="1"/>
              <a:t>Vijf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</p:txBody>
      </p:sp>
      <p:sp>
        <p:nvSpPr>
          <p:cNvPr id="8" name="Tijdelijke aanduiding voor tekst 2">
            <a:extLst>
              <a:ext uri="{FF2B5EF4-FFF2-40B4-BE49-F238E27FC236}">
                <a16:creationId xmlns:a16="http://schemas.microsoft.com/office/drawing/2014/main" id="{FAB537F6-B865-46AE-A701-B32E2FD4CBF7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33802" y="1954060"/>
            <a:ext cx="5220000" cy="42229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  <a:p>
            <a:pPr lvl="1"/>
            <a:r>
              <a:rPr lang="en-GB" noProof="0" err="1"/>
              <a:t>Twee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2"/>
            <a:r>
              <a:rPr lang="en-GB" noProof="0" err="1"/>
              <a:t>D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3"/>
            <a:r>
              <a:rPr lang="en-GB" noProof="0" err="1"/>
              <a:t>Vi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4"/>
            <a:r>
              <a:rPr lang="en-GB" noProof="0" err="1"/>
              <a:t>Vijf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630265CF-5D46-4035-AE1A-0E2C6D7C74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05850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nl-NL" err="1"/>
              <a:t>Titl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come</a:t>
            </a:r>
            <a:endParaRPr lang="nl-NL"/>
          </a:p>
        </p:txBody>
      </p:sp>
      <p:sp>
        <p:nvSpPr>
          <p:cNvPr id="16" name="Content Placeholder 32">
            <a:extLst>
              <a:ext uri="{FF2B5EF4-FFF2-40B4-BE49-F238E27FC236}">
                <a16:creationId xmlns:a16="http://schemas.microsoft.com/office/drawing/2014/main" id="{5E51C5BF-182D-4F78-8F2D-C7281DFB53A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38200" y="1644858"/>
            <a:ext cx="5219999" cy="3603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17" name="Content Placeholder 32">
            <a:extLst>
              <a:ext uri="{FF2B5EF4-FFF2-40B4-BE49-F238E27FC236}">
                <a16:creationId xmlns:a16="http://schemas.microsoft.com/office/drawing/2014/main" id="{213F8532-0DCC-447B-8FA0-E457540F049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33801" y="1644858"/>
            <a:ext cx="5219999" cy="3603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18" name="Content Placeholder 32">
            <a:extLst>
              <a:ext uri="{FF2B5EF4-FFF2-40B4-BE49-F238E27FC236}">
                <a16:creationId xmlns:a16="http://schemas.microsoft.com/office/drawing/2014/main" id="{C053D479-E969-4D09-9137-E1A80C6B299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8200" y="1087422"/>
            <a:ext cx="10515600" cy="3603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E9DFFD8-0B46-4EE3-9CE5-2A64350D18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0726" y="6491605"/>
            <a:ext cx="14105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3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3131893D-A0E0-4BEF-8FC1-EE1E60E7E04A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757221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2 acro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8B437A84-B465-4985-8782-D9C4772E9DD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F8B699-DD38-42C8-A184-EB2EA2184F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0766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F8B699-DD38-42C8-A184-EB2EA2184F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1">
            <a:extLst>
              <a:ext uri="{FF2B5EF4-FFF2-40B4-BE49-F238E27FC236}">
                <a16:creationId xmlns:a16="http://schemas.microsoft.com/office/drawing/2014/main" id="{630265CF-5D46-4035-AE1A-0E2C6D7C74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05850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nl-NL" err="1"/>
              <a:t>Titl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come</a:t>
            </a:r>
            <a:endParaRPr lang="nl-NL"/>
          </a:p>
        </p:txBody>
      </p:sp>
      <p:sp>
        <p:nvSpPr>
          <p:cNvPr id="18" name="Content Placeholder 32">
            <a:extLst>
              <a:ext uri="{FF2B5EF4-FFF2-40B4-BE49-F238E27FC236}">
                <a16:creationId xmlns:a16="http://schemas.microsoft.com/office/drawing/2014/main" id="{C053D479-E969-4D09-9137-E1A80C6B299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8200" y="1087422"/>
            <a:ext cx="10515600" cy="3603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15" name="Tijdelijke aanduiding voor tekst 2">
            <a:extLst>
              <a:ext uri="{FF2B5EF4-FFF2-40B4-BE49-F238E27FC236}">
                <a16:creationId xmlns:a16="http://schemas.microsoft.com/office/drawing/2014/main" id="{772B31CA-992B-4BCD-9B0A-294216A39C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54061"/>
            <a:ext cx="5220000" cy="180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  <a:p>
            <a:pPr lvl="1"/>
            <a:r>
              <a:rPr lang="en-GB" noProof="0" err="1"/>
              <a:t>Twee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2"/>
            <a:r>
              <a:rPr lang="en-GB" noProof="0" err="1"/>
              <a:t>D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3"/>
            <a:r>
              <a:rPr lang="en-GB" noProof="0" err="1"/>
              <a:t>Vi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4"/>
            <a:r>
              <a:rPr lang="en-GB" noProof="0" err="1"/>
              <a:t>Vijf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</p:txBody>
      </p:sp>
      <p:sp>
        <p:nvSpPr>
          <p:cNvPr id="19" name="Content Placeholder 32">
            <a:extLst>
              <a:ext uri="{FF2B5EF4-FFF2-40B4-BE49-F238E27FC236}">
                <a16:creationId xmlns:a16="http://schemas.microsoft.com/office/drawing/2014/main" id="{D130C46F-0198-47D1-B3CE-20EF74CDEE4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38200" y="1644858"/>
            <a:ext cx="5220000" cy="3603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20" name="Content Placeholder 32">
            <a:extLst>
              <a:ext uri="{FF2B5EF4-FFF2-40B4-BE49-F238E27FC236}">
                <a16:creationId xmlns:a16="http://schemas.microsoft.com/office/drawing/2014/main" id="{5422F4D7-69BE-45AA-9016-768A91616334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38200" y="4063264"/>
            <a:ext cx="5220000" cy="3603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21" name="Tijdelijke aanduiding voor tekst 2">
            <a:extLst>
              <a:ext uri="{FF2B5EF4-FFF2-40B4-BE49-F238E27FC236}">
                <a16:creationId xmlns:a16="http://schemas.microsoft.com/office/drawing/2014/main" id="{5989E014-F232-4E68-8E7A-720A6164E4C8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38200" y="4376963"/>
            <a:ext cx="5220000" cy="180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  <a:p>
            <a:pPr lvl="1"/>
            <a:r>
              <a:rPr lang="en-GB" noProof="0" err="1"/>
              <a:t>Twee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2"/>
            <a:r>
              <a:rPr lang="en-GB" noProof="0" err="1"/>
              <a:t>D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3"/>
            <a:r>
              <a:rPr lang="en-GB" noProof="0" err="1"/>
              <a:t>Vi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4"/>
            <a:r>
              <a:rPr lang="en-GB" noProof="0" err="1"/>
              <a:t>Vijf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</p:txBody>
      </p:sp>
      <p:sp>
        <p:nvSpPr>
          <p:cNvPr id="26" name="Tijdelijke aanduiding voor tekst 2">
            <a:extLst>
              <a:ext uri="{FF2B5EF4-FFF2-40B4-BE49-F238E27FC236}">
                <a16:creationId xmlns:a16="http://schemas.microsoft.com/office/drawing/2014/main" id="{FB5B2E3C-8064-469B-91FC-5CE8B9F16928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133799" y="1954061"/>
            <a:ext cx="5220000" cy="180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  <a:p>
            <a:pPr lvl="1"/>
            <a:r>
              <a:rPr lang="en-GB" noProof="0" err="1"/>
              <a:t>Twee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2"/>
            <a:r>
              <a:rPr lang="en-GB" noProof="0" err="1"/>
              <a:t>D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3"/>
            <a:r>
              <a:rPr lang="en-GB" noProof="0" err="1"/>
              <a:t>Vi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4"/>
            <a:r>
              <a:rPr lang="en-GB" noProof="0" err="1"/>
              <a:t>Vijf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</p:txBody>
      </p:sp>
      <p:sp>
        <p:nvSpPr>
          <p:cNvPr id="27" name="Content Placeholder 32">
            <a:extLst>
              <a:ext uri="{FF2B5EF4-FFF2-40B4-BE49-F238E27FC236}">
                <a16:creationId xmlns:a16="http://schemas.microsoft.com/office/drawing/2014/main" id="{9DDCB8D3-02E4-4646-BB24-4B95DA1762F7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33799" y="1644858"/>
            <a:ext cx="5220000" cy="3603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28" name="Content Placeholder 32">
            <a:extLst>
              <a:ext uri="{FF2B5EF4-FFF2-40B4-BE49-F238E27FC236}">
                <a16:creationId xmlns:a16="http://schemas.microsoft.com/office/drawing/2014/main" id="{854D65B2-6E30-4552-9C50-E7763F862C91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33799" y="4063264"/>
            <a:ext cx="5220000" cy="3603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29" name="Tijdelijke aanduiding voor tekst 2">
            <a:extLst>
              <a:ext uri="{FF2B5EF4-FFF2-40B4-BE49-F238E27FC236}">
                <a16:creationId xmlns:a16="http://schemas.microsoft.com/office/drawing/2014/main" id="{C7376686-CD7D-44F1-8A38-4C83111EA73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6133799" y="4376963"/>
            <a:ext cx="5220000" cy="180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  <a:p>
            <a:pPr lvl="1"/>
            <a:r>
              <a:rPr lang="en-GB" noProof="0" err="1"/>
              <a:t>Twee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2"/>
            <a:r>
              <a:rPr lang="en-GB" noProof="0" err="1"/>
              <a:t>D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3"/>
            <a:r>
              <a:rPr lang="en-GB" noProof="0" err="1"/>
              <a:t>Vi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4"/>
            <a:r>
              <a:rPr lang="en-GB" noProof="0" err="1"/>
              <a:t>Vijf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75F96BB-CA15-4B2C-8AE7-A40D773E2C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0726" y="6491605"/>
            <a:ext cx="14105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3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3131893D-A0E0-4BEF-8FC1-EE1E60E7E04A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237261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acro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ECAC370B-67C0-45C7-A7B8-21F80D118C4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F8B699-DD38-42C8-A184-EB2EA2184F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09477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F8B699-DD38-42C8-A184-EB2EA2184F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1">
            <a:extLst>
              <a:ext uri="{FF2B5EF4-FFF2-40B4-BE49-F238E27FC236}">
                <a16:creationId xmlns:a16="http://schemas.microsoft.com/office/drawing/2014/main" id="{630265CF-5D46-4035-AE1A-0E2C6D7C74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05850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nl-NL" err="1"/>
              <a:t>Titl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come</a:t>
            </a:r>
            <a:endParaRPr lang="nl-NL"/>
          </a:p>
        </p:txBody>
      </p:sp>
      <p:sp>
        <p:nvSpPr>
          <p:cNvPr id="18" name="Content Placeholder 32">
            <a:extLst>
              <a:ext uri="{FF2B5EF4-FFF2-40B4-BE49-F238E27FC236}">
                <a16:creationId xmlns:a16="http://schemas.microsoft.com/office/drawing/2014/main" id="{C053D479-E969-4D09-9137-E1A80C6B299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8200" y="1087422"/>
            <a:ext cx="10515600" cy="3603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21" name="Tijdelijke aanduiding voor tekst 2">
            <a:extLst>
              <a:ext uri="{FF2B5EF4-FFF2-40B4-BE49-F238E27FC236}">
                <a16:creationId xmlns:a16="http://schemas.microsoft.com/office/drawing/2014/main" id="{312BE181-09BF-4DC6-BA7A-8B04F0677F87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838200" y="1954061"/>
            <a:ext cx="3420000" cy="42229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  <a:p>
            <a:pPr lvl="1"/>
            <a:r>
              <a:rPr lang="en-GB" noProof="0" err="1"/>
              <a:t>Twee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2"/>
            <a:r>
              <a:rPr lang="en-GB" noProof="0" err="1"/>
              <a:t>D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3"/>
            <a:r>
              <a:rPr lang="en-GB" noProof="0" err="1"/>
              <a:t>Vi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4"/>
            <a:r>
              <a:rPr lang="en-GB" noProof="0" err="1"/>
              <a:t>Vijf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</p:txBody>
      </p:sp>
      <p:sp>
        <p:nvSpPr>
          <p:cNvPr id="22" name="Content Placeholder 32">
            <a:extLst>
              <a:ext uri="{FF2B5EF4-FFF2-40B4-BE49-F238E27FC236}">
                <a16:creationId xmlns:a16="http://schemas.microsoft.com/office/drawing/2014/main" id="{5013E76B-ACCA-4ABF-BF41-CD3349F5AA0B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38200" y="1644858"/>
            <a:ext cx="3420000" cy="3603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29" name="Tijdelijke aanduiding voor tekst 2">
            <a:extLst>
              <a:ext uri="{FF2B5EF4-FFF2-40B4-BE49-F238E27FC236}">
                <a16:creationId xmlns:a16="http://schemas.microsoft.com/office/drawing/2014/main" id="{1A172881-C565-447F-BA97-C6D4B2B46F72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86000" y="1954061"/>
            <a:ext cx="3420000" cy="42229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  <a:p>
            <a:pPr lvl="1"/>
            <a:r>
              <a:rPr lang="en-GB" noProof="0" err="1"/>
              <a:t>Twee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2"/>
            <a:r>
              <a:rPr lang="en-GB" noProof="0" err="1"/>
              <a:t>D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3"/>
            <a:r>
              <a:rPr lang="en-GB" noProof="0" err="1"/>
              <a:t>Vi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4"/>
            <a:r>
              <a:rPr lang="en-GB" noProof="0" err="1"/>
              <a:t>Vijf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</p:txBody>
      </p:sp>
      <p:sp>
        <p:nvSpPr>
          <p:cNvPr id="30" name="Content Placeholder 32">
            <a:extLst>
              <a:ext uri="{FF2B5EF4-FFF2-40B4-BE49-F238E27FC236}">
                <a16:creationId xmlns:a16="http://schemas.microsoft.com/office/drawing/2014/main" id="{C00EF4EB-7D19-4935-A258-6136D2B7ACB9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4386000" y="1644858"/>
            <a:ext cx="3420000" cy="3603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37" name="Tijdelijke aanduiding voor tekst 2">
            <a:extLst>
              <a:ext uri="{FF2B5EF4-FFF2-40B4-BE49-F238E27FC236}">
                <a16:creationId xmlns:a16="http://schemas.microsoft.com/office/drawing/2014/main" id="{54B146B9-CA94-4DAF-91D4-4D6BC7B3F919}"/>
              </a:ext>
            </a:extLst>
          </p:cNvPr>
          <p:cNvSpPr>
            <a:spLocks noGrp="1"/>
          </p:cNvSpPr>
          <p:nvPr>
            <p:ph idx="29"/>
          </p:nvPr>
        </p:nvSpPr>
        <p:spPr>
          <a:xfrm>
            <a:off x="7933799" y="1954061"/>
            <a:ext cx="3420000" cy="42229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  <a:p>
            <a:pPr lvl="1"/>
            <a:r>
              <a:rPr lang="en-GB" noProof="0" err="1"/>
              <a:t>Twee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2"/>
            <a:r>
              <a:rPr lang="en-GB" noProof="0" err="1"/>
              <a:t>D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3"/>
            <a:r>
              <a:rPr lang="en-GB" noProof="0" err="1"/>
              <a:t>Vi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4"/>
            <a:r>
              <a:rPr lang="en-GB" noProof="0" err="1"/>
              <a:t>Vijf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</p:txBody>
      </p:sp>
      <p:sp>
        <p:nvSpPr>
          <p:cNvPr id="38" name="Content Placeholder 32">
            <a:extLst>
              <a:ext uri="{FF2B5EF4-FFF2-40B4-BE49-F238E27FC236}">
                <a16:creationId xmlns:a16="http://schemas.microsoft.com/office/drawing/2014/main" id="{9367AC31-0443-4795-99E7-A67D3B388D62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7933799" y="1644858"/>
            <a:ext cx="3420000" cy="3603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ED4847E-3AD7-4B42-A0E7-4FE6697E1B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0726" y="6491605"/>
            <a:ext cx="14105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3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3131893D-A0E0-4BEF-8FC1-EE1E60E7E04A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74291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2 acro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1CC9A1C1-2A49-4BB7-9363-A3799EBC158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F8B699-DD38-42C8-A184-EB2EA2184F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98946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F8B699-DD38-42C8-A184-EB2EA2184F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1">
            <a:extLst>
              <a:ext uri="{FF2B5EF4-FFF2-40B4-BE49-F238E27FC236}">
                <a16:creationId xmlns:a16="http://schemas.microsoft.com/office/drawing/2014/main" id="{630265CF-5D46-4035-AE1A-0E2C6D7C74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05850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nl-NL" err="1"/>
              <a:t>Titl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come</a:t>
            </a:r>
            <a:endParaRPr lang="nl-NL"/>
          </a:p>
        </p:txBody>
      </p:sp>
      <p:sp>
        <p:nvSpPr>
          <p:cNvPr id="18" name="Content Placeholder 32">
            <a:extLst>
              <a:ext uri="{FF2B5EF4-FFF2-40B4-BE49-F238E27FC236}">
                <a16:creationId xmlns:a16="http://schemas.microsoft.com/office/drawing/2014/main" id="{C053D479-E969-4D09-9137-E1A80C6B299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8200" y="1087422"/>
            <a:ext cx="10515600" cy="3603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21" name="Tijdelijke aanduiding voor tekst 2">
            <a:extLst>
              <a:ext uri="{FF2B5EF4-FFF2-40B4-BE49-F238E27FC236}">
                <a16:creationId xmlns:a16="http://schemas.microsoft.com/office/drawing/2014/main" id="{312BE181-09BF-4DC6-BA7A-8B04F0677F87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838200" y="1954061"/>
            <a:ext cx="3420000" cy="180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  <a:p>
            <a:pPr lvl="1"/>
            <a:r>
              <a:rPr lang="en-GB" noProof="0" err="1"/>
              <a:t>Twee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2"/>
            <a:r>
              <a:rPr lang="en-GB" noProof="0" err="1"/>
              <a:t>D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3"/>
            <a:r>
              <a:rPr lang="en-GB" noProof="0" err="1"/>
              <a:t>Vi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4"/>
            <a:r>
              <a:rPr lang="en-GB" noProof="0" err="1"/>
              <a:t>Vijf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</p:txBody>
      </p:sp>
      <p:sp>
        <p:nvSpPr>
          <p:cNvPr id="22" name="Content Placeholder 32">
            <a:extLst>
              <a:ext uri="{FF2B5EF4-FFF2-40B4-BE49-F238E27FC236}">
                <a16:creationId xmlns:a16="http://schemas.microsoft.com/office/drawing/2014/main" id="{5013E76B-ACCA-4ABF-BF41-CD3349F5AA0B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38200" y="1644858"/>
            <a:ext cx="3420000" cy="3603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23" name="Content Placeholder 32">
            <a:extLst>
              <a:ext uri="{FF2B5EF4-FFF2-40B4-BE49-F238E27FC236}">
                <a16:creationId xmlns:a16="http://schemas.microsoft.com/office/drawing/2014/main" id="{CC755322-4377-4F30-8A5D-8A9F3DD21EE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38200" y="4063264"/>
            <a:ext cx="3420000" cy="3603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24" name="Tijdelijke aanduiding voor tekst 2">
            <a:extLst>
              <a:ext uri="{FF2B5EF4-FFF2-40B4-BE49-F238E27FC236}">
                <a16:creationId xmlns:a16="http://schemas.microsoft.com/office/drawing/2014/main" id="{91EEED53-4BA0-43AA-882B-E4F0829DCDC5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838200" y="4376963"/>
            <a:ext cx="3420000" cy="180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  <a:p>
            <a:pPr lvl="1"/>
            <a:r>
              <a:rPr lang="en-GB" noProof="0" err="1"/>
              <a:t>Twee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2"/>
            <a:r>
              <a:rPr lang="en-GB" noProof="0" err="1"/>
              <a:t>D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3"/>
            <a:r>
              <a:rPr lang="en-GB" noProof="0" err="1"/>
              <a:t>Vi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4"/>
            <a:r>
              <a:rPr lang="en-GB" noProof="0" err="1"/>
              <a:t>Vijf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</p:txBody>
      </p:sp>
      <p:sp>
        <p:nvSpPr>
          <p:cNvPr id="29" name="Tijdelijke aanduiding voor tekst 2">
            <a:extLst>
              <a:ext uri="{FF2B5EF4-FFF2-40B4-BE49-F238E27FC236}">
                <a16:creationId xmlns:a16="http://schemas.microsoft.com/office/drawing/2014/main" id="{1A172881-C565-447F-BA97-C6D4B2B46F72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86000" y="1954061"/>
            <a:ext cx="3420000" cy="180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  <a:p>
            <a:pPr lvl="1"/>
            <a:r>
              <a:rPr lang="en-GB" noProof="0" err="1"/>
              <a:t>Twee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2"/>
            <a:r>
              <a:rPr lang="en-GB" noProof="0" err="1"/>
              <a:t>D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3"/>
            <a:r>
              <a:rPr lang="en-GB" noProof="0" err="1"/>
              <a:t>Vi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4"/>
            <a:r>
              <a:rPr lang="en-GB" noProof="0" err="1"/>
              <a:t>Vijf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</p:txBody>
      </p:sp>
      <p:sp>
        <p:nvSpPr>
          <p:cNvPr id="30" name="Content Placeholder 32">
            <a:extLst>
              <a:ext uri="{FF2B5EF4-FFF2-40B4-BE49-F238E27FC236}">
                <a16:creationId xmlns:a16="http://schemas.microsoft.com/office/drawing/2014/main" id="{C00EF4EB-7D19-4935-A258-6136D2B7ACB9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4386000" y="1644858"/>
            <a:ext cx="3420000" cy="3603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31" name="Content Placeholder 32">
            <a:extLst>
              <a:ext uri="{FF2B5EF4-FFF2-40B4-BE49-F238E27FC236}">
                <a16:creationId xmlns:a16="http://schemas.microsoft.com/office/drawing/2014/main" id="{E3024585-C1A1-42C3-9389-9416F18DFB1B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4386000" y="4063264"/>
            <a:ext cx="3420000" cy="3603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32" name="Tijdelijke aanduiding voor tekst 2">
            <a:extLst>
              <a:ext uri="{FF2B5EF4-FFF2-40B4-BE49-F238E27FC236}">
                <a16:creationId xmlns:a16="http://schemas.microsoft.com/office/drawing/2014/main" id="{79A13203-B4A7-400F-A219-E1F243A0A5EF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4386000" y="4376963"/>
            <a:ext cx="3420000" cy="180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  <a:p>
            <a:pPr lvl="1"/>
            <a:r>
              <a:rPr lang="en-GB" noProof="0" err="1"/>
              <a:t>Twee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2"/>
            <a:r>
              <a:rPr lang="en-GB" noProof="0" err="1"/>
              <a:t>D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3"/>
            <a:r>
              <a:rPr lang="en-GB" noProof="0" err="1"/>
              <a:t>Vi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4"/>
            <a:r>
              <a:rPr lang="en-GB" noProof="0" err="1"/>
              <a:t>Vijf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</p:txBody>
      </p:sp>
      <p:sp>
        <p:nvSpPr>
          <p:cNvPr id="37" name="Tijdelijke aanduiding voor tekst 2">
            <a:extLst>
              <a:ext uri="{FF2B5EF4-FFF2-40B4-BE49-F238E27FC236}">
                <a16:creationId xmlns:a16="http://schemas.microsoft.com/office/drawing/2014/main" id="{54B146B9-CA94-4DAF-91D4-4D6BC7B3F919}"/>
              </a:ext>
            </a:extLst>
          </p:cNvPr>
          <p:cNvSpPr>
            <a:spLocks noGrp="1"/>
          </p:cNvSpPr>
          <p:nvPr>
            <p:ph idx="29"/>
          </p:nvPr>
        </p:nvSpPr>
        <p:spPr>
          <a:xfrm>
            <a:off x="7933799" y="1954061"/>
            <a:ext cx="3420000" cy="180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  <a:p>
            <a:pPr lvl="1"/>
            <a:r>
              <a:rPr lang="en-GB" noProof="0" err="1"/>
              <a:t>Twee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2"/>
            <a:r>
              <a:rPr lang="en-GB" noProof="0" err="1"/>
              <a:t>D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3"/>
            <a:r>
              <a:rPr lang="en-GB" noProof="0" err="1"/>
              <a:t>Vi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4"/>
            <a:r>
              <a:rPr lang="en-GB" noProof="0" err="1"/>
              <a:t>Vijf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</p:txBody>
      </p:sp>
      <p:sp>
        <p:nvSpPr>
          <p:cNvPr id="38" name="Content Placeholder 32">
            <a:extLst>
              <a:ext uri="{FF2B5EF4-FFF2-40B4-BE49-F238E27FC236}">
                <a16:creationId xmlns:a16="http://schemas.microsoft.com/office/drawing/2014/main" id="{9367AC31-0443-4795-99E7-A67D3B388D62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7933799" y="1644858"/>
            <a:ext cx="3420000" cy="3603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39" name="Content Placeholder 32">
            <a:extLst>
              <a:ext uri="{FF2B5EF4-FFF2-40B4-BE49-F238E27FC236}">
                <a16:creationId xmlns:a16="http://schemas.microsoft.com/office/drawing/2014/main" id="{9B5E2629-2830-4C2D-86A9-58FCC92F126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7933799" y="4063264"/>
            <a:ext cx="3420000" cy="3603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40" name="Tijdelijke aanduiding voor tekst 2">
            <a:extLst>
              <a:ext uri="{FF2B5EF4-FFF2-40B4-BE49-F238E27FC236}">
                <a16:creationId xmlns:a16="http://schemas.microsoft.com/office/drawing/2014/main" id="{56C3C041-F009-44E1-B9A4-1482DDCD4C20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7933799" y="4376963"/>
            <a:ext cx="3420000" cy="180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err="1"/>
              <a:t>Klikken</a:t>
            </a:r>
            <a:r>
              <a:rPr lang="en-GB" noProof="0"/>
              <a:t> om de </a:t>
            </a:r>
            <a:r>
              <a:rPr lang="en-GB" noProof="0" err="1"/>
              <a:t>tekststijl</a:t>
            </a:r>
            <a:r>
              <a:rPr lang="en-GB" noProof="0"/>
              <a:t> van het model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bewerken</a:t>
            </a:r>
            <a:endParaRPr lang="en-GB" noProof="0"/>
          </a:p>
          <a:p>
            <a:pPr lvl="1"/>
            <a:r>
              <a:rPr lang="en-GB" noProof="0" err="1"/>
              <a:t>Twee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2"/>
            <a:r>
              <a:rPr lang="en-GB" noProof="0" err="1"/>
              <a:t>D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3"/>
            <a:r>
              <a:rPr lang="en-GB" noProof="0" err="1"/>
              <a:t>Vier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  <a:p>
            <a:pPr lvl="4"/>
            <a:r>
              <a:rPr lang="en-GB" noProof="0" err="1"/>
              <a:t>Vijfde</a:t>
            </a:r>
            <a:r>
              <a:rPr lang="en-GB" noProof="0"/>
              <a:t> </a:t>
            </a:r>
            <a:r>
              <a:rPr lang="en-GB" noProof="0" err="1"/>
              <a:t>niveau</a:t>
            </a:r>
            <a:endParaRPr lang="en-GB" noProof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DC58E77-E92E-434B-A872-62930109F8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0726" y="6491605"/>
            <a:ext cx="14105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3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3131893D-A0E0-4BEF-8FC1-EE1E60E7E04A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575983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806EB4C6-E5AB-4E08-AB56-4C68F9A7E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22BFDCC-3EE2-4AB7-99DB-57605C349F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4561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22BFDCC-3EE2-4AB7-99DB-57605C349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icture containing outdoor, nature&#10;&#10;Description automatically generated">
            <a:extLst>
              <a:ext uri="{FF2B5EF4-FFF2-40B4-BE49-F238E27FC236}">
                <a16:creationId xmlns:a16="http://schemas.microsoft.com/office/drawing/2014/main" id="{97260239-32ED-4B45-AC47-802D1B0A5C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9A49D879-F960-4EEE-B66A-FFFCB0037617}"/>
              </a:ext>
            </a:extLst>
          </p:cNvPr>
          <p:cNvSpPr/>
          <p:nvPr userDrawn="1"/>
        </p:nvSpPr>
        <p:spPr>
          <a:xfrm>
            <a:off x="-1" y="0"/>
            <a:ext cx="6095999" cy="6859055"/>
          </a:xfrm>
          <a:prstGeom prst="rect">
            <a:avLst/>
          </a:prstGeom>
          <a:gradFill>
            <a:gsLst>
              <a:gs pos="45000">
                <a:srgbClr val="F7D379">
                  <a:lumMod val="90000"/>
                  <a:lumOff val="10000"/>
                  <a:alpha val="70000"/>
                </a:srgbClr>
              </a:gs>
              <a:gs pos="0">
                <a:srgbClr val="F7D379">
                  <a:lumMod val="100000"/>
                  <a:alpha val="55000"/>
                </a:srgbClr>
              </a:gs>
              <a:gs pos="70000">
                <a:schemeClr val="accent2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pic>
        <p:nvPicPr>
          <p:cNvPr id="10" name="Afbeelding 6">
            <a:extLst>
              <a:ext uri="{FF2B5EF4-FFF2-40B4-BE49-F238E27FC236}">
                <a16:creationId xmlns:a16="http://schemas.microsoft.com/office/drawing/2014/main" id="{4C7EE670-59FE-4F5B-9B1E-D532DE0E717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9557" y="6249898"/>
            <a:ext cx="2062066" cy="540000"/>
          </a:xfrm>
          <a:prstGeom prst="rect">
            <a:avLst/>
          </a:prstGeom>
        </p:spPr>
      </p:pic>
      <p:sp>
        <p:nvSpPr>
          <p:cNvPr id="34" name="Content Placeholder 32">
            <a:extLst>
              <a:ext uri="{FF2B5EF4-FFF2-40B4-BE49-F238E27FC236}">
                <a16:creationId xmlns:a16="http://schemas.microsoft.com/office/drawing/2014/main" id="{26C5477B-7ABF-4BD9-83E8-0CC5AD431F1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8880" y="365126"/>
            <a:ext cx="5074920" cy="70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Title to come</a:t>
            </a:r>
          </a:p>
        </p:txBody>
      </p:sp>
      <p:sp>
        <p:nvSpPr>
          <p:cNvPr id="38" name="Content Placeholder 32">
            <a:extLst>
              <a:ext uri="{FF2B5EF4-FFF2-40B4-BE49-F238E27FC236}">
                <a16:creationId xmlns:a16="http://schemas.microsoft.com/office/drawing/2014/main" id="{6F0F0BA4-0067-44B6-A867-DF919672897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155180" y="1866901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0" name="Content Placeholder 32">
            <a:extLst>
              <a:ext uri="{FF2B5EF4-FFF2-40B4-BE49-F238E27FC236}">
                <a16:creationId xmlns:a16="http://schemas.microsoft.com/office/drawing/2014/main" id="{0B79743C-128B-4912-8EE6-D176E9B7C0D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155180" y="2959034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1" name="Content Placeholder 32">
            <a:extLst>
              <a:ext uri="{FF2B5EF4-FFF2-40B4-BE49-F238E27FC236}">
                <a16:creationId xmlns:a16="http://schemas.microsoft.com/office/drawing/2014/main" id="{3AE5EF70-0441-4E17-B388-85EFD2DD7D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155180" y="3977405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2" name="Content Placeholder 32">
            <a:extLst>
              <a:ext uri="{FF2B5EF4-FFF2-40B4-BE49-F238E27FC236}">
                <a16:creationId xmlns:a16="http://schemas.microsoft.com/office/drawing/2014/main" id="{5213D119-488F-4EDE-949C-AB979CB8F83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155180" y="5113250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50" name="Content Placeholder 32">
            <a:extLst>
              <a:ext uri="{FF2B5EF4-FFF2-40B4-BE49-F238E27FC236}">
                <a16:creationId xmlns:a16="http://schemas.microsoft.com/office/drawing/2014/main" id="{4F222219-B49A-46EA-A36A-A5BC720640F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78880" y="1087422"/>
            <a:ext cx="5074920" cy="70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2CC8C56-3666-45D3-B5A2-F75D470A5A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5998" y="6491605"/>
            <a:ext cx="14105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3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3131893D-A0E0-4BEF-8FC1-EE1E60E7E04A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2CF3B62-FD3F-47D9-8F31-8DC718F46F4A}"/>
              </a:ext>
            </a:extLst>
          </p:cNvPr>
          <p:cNvSpPr/>
          <p:nvPr userDrawn="1"/>
        </p:nvSpPr>
        <p:spPr>
          <a:xfrm>
            <a:off x="-1546860" y="0"/>
            <a:ext cx="1272540" cy="7391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9E96410-9445-4952-8796-C9263FB9BA02}"/>
              </a:ext>
            </a:extLst>
          </p:cNvPr>
          <p:cNvSpPr/>
          <p:nvPr userDrawn="1"/>
        </p:nvSpPr>
        <p:spPr>
          <a:xfrm>
            <a:off x="-1546860" y="1019598"/>
            <a:ext cx="1272540" cy="7391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1A7A515-A6C5-4840-9233-6891475189DF}"/>
              </a:ext>
            </a:extLst>
          </p:cNvPr>
          <p:cNvSpPr/>
          <p:nvPr userDrawn="1"/>
        </p:nvSpPr>
        <p:spPr>
          <a:xfrm>
            <a:off x="-1546860" y="2039196"/>
            <a:ext cx="1272540" cy="7391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B4B50D8-38C9-4E12-8438-3236C203D433}"/>
              </a:ext>
            </a:extLst>
          </p:cNvPr>
          <p:cNvSpPr/>
          <p:nvPr userDrawn="1"/>
        </p:nvSpPr>
        <p:spPr>
          <a:xfrm>
            <a:off x="-1546860" y="3058794"/>
            <a:ext cx="1272540" cy="73914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8491771-0409-4B08-BD40-F4AE79DB34A2}"/>
              </a:ext>
            </a:extLst>
          </p:cNvPr>
          <p:cNvSpPr/>
          <p:nvPr userDrawn="1"/>
        </p:nvSpPr>
        <p:spPr>
          <a:xfrm>
            <a:off x="-1546860" y="4078392"/>
            <a:ext cx="1272540" cy="7391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281D58F-FB2B-44BA-B8AF-5B7E8C1E57A9}"/>
              </a:ext>
            </a:extLst>
          </p:cNvPr>
          <p:cNvSpPr/>
          <p:nvPr userDrawn="1"/>
        </p:nvSpPr>
        <p:spPr>
          <a:xfrm>
            <a:off x="-1546860" y="5097990"/>
            <a:ext cx="1272540" cy="73914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ijdelijke aanduiding voor tekst 2">
            <a:extLst>
              <a:ext uri="{FF2B5EF4-FFF2-40B4-BE49-F238E27FC236}">
                <a16:creationId xmlns:a16="http://schemas.microsoft.com/office/drawing/2014/main" id="{C7DDF86E-E7C4-41E6-9F41-F78009D7CD46}"/>
              </a:ext>
            </a:extLst>
          </p:cNvPr>
          <p:cNvSpPr txBox="1">
            <a:spLocks/>
          </p:cNvSpPr>
          <p:nvPr userDrawn="1"/>
        </p:nvSpPr>
        <p:spPr>
          <a:xfrm>
            <a:off x="7506546" y="6606269"/>
            <a:ext cx="3677920" cy="1865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kern="1200" cap="none" spc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>
                <a:effectLst/>
              </a:rPr>
              <a:t>STRICTLY CONFIDENTIAL |</a:t>
            </a:r>
            <a:endParaRPr lang="en-GB" sz="1000" b="1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361538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22BFDCC-3EE2-4AB7-99DB-57605C349F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9418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22BFDCC-3EE2-4AB7-99DB-57605C349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icture containing sky, outdoor, sunset&#10;&#10;Description automatically generated">
            <a:extLst>
              <a:ext uri="{FF2B5EF4-FFF2-40B4-BE49-F238E27FC236}">
                <a16:creationId xmlns:a16="http://schemas.microsoft.com/office/drawing/2014/main" id="{10741414-40AD-4447-B51D-65A5AB8A77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A6DEAC1-ED5A-4AEB-85E6-00DF0FEEEC0B}"/>
              </a:ext>
            </a:extLst>
          </p:cNvPr>
          <p:cNvSpPr/>
          <p:nvPr userDrawn="1"/>
        </p:nvSpPr>
        <p:spPr>
          <a:xfrm>
            <a:off x="-1" y="0"/>
            <a:ext cx="6095999" cy="6859055"/>
          </a:xfrm>
          <a:prstGeom prst="rect">
            <a:avLst/>
          </a:prstGeom>
          <a:gradFill>
            <a:gsLst>
              <a:gs pos="47000">
                <a:srgbClr val="F7D379">
                  <a:alpha val="60000"/>
                  <a:lumMod val="90000"/>
                  <a:lumOff val="10000"/>
                </a:srgbClr>
              </a:gs>
              <a:gs pos="0">
                <a:srgbClr val="F7D379">
                  <a:alpha val="60000"/>
                  <a:lumMod val="100000"/>
                </a:srgbClr>
              </a:gs>
              <a:gs pos="77000">
                <a:schemeClr val="accent2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22379FAC-BA7E-4BD2-849A-AA1CB83CDD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Afbeelding 6">
            <a:extLst>
              <a:ext uri="{FF2B5EF4-FFF2-40B4-BE49-F238E27FC236}">
                <a16:creationId xmlns:a16="http://schemas.microsoft.com/office/drawing/2014/main" id="{4C7EE670-59FE-4F5B-9B1E-D532DE0E717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9557" y="6249898"/>
            <a:ext cx="2062066" cy="540000"/>
          </a:xfrm>
          <a:prstGeom prst="rect">
            <a:avLst/>
          </a:prstGeom>
        </p:spPr>
      </p:pic>
      <p:sp>
        <p:nvSpPr>
          <p:cNvPr id="34" name="Content Placeholder 32">
            <a:extLst>
              <a:ext uri="{FF2B5EF4-FFF2-40B4-BE49-F238E27FC236}">
                <a16:creationId xmlns:a16="http://schemas.microsoft.com/office/drawing/2014/main" id="{26C5477B-7ABF-4BD9-83E8-0CC5AD431F1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8880" y="365126"/>
            <a:ext cx="5074920" cy="70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Title to come</a:t>
            </a:r>
          </a:p>
        </p:txBody>
      </p:sp>
      <p:sp>
        <p:nvSpPr>
          <p:cNvPr id="38" name="Content Placeholder 32">
            <a:extLst>
              <a:ext uri="{FF2B5EF4-FFF2-40B4-BE49-F238E27FC236}">
                <a16:creationId xmlns:a16="http://schemas.microsoft.com/office/drawing/2014/main" id="{6F0F0BA4-0067-44B6-A867-DF919672897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155180" y="1866901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0" name="Content Placeholder 32">
            <a:extLst>
              <a:ext uri="{FF2B5EF4-FFF2-40B4-BE49-F238E27FC236}">
                <a16:creationId xmlns:a16="http://schemas.microsoft.com/office/drawing/2014/main" id="{0B79743C-128B-4912-8EE6-D176E9B7C0D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155180" y="2959034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1" name="Content Placeholder 32">
            <a:extLst>
              <a:ext uri="{FF2B5EF4-FFF2-40B4-BE49-F238E27FC236}">
                <a16:creationId xmlns:a16="http://schemas.microsoft.com/office/drawing/2014/main" id="{3AE5EF70-0441-4E17-B388-85EFD2DD7D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155180" y="3977405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2" name="Content Placeholder 32">
            <a:extLst>
              <a:ext uri="{FF2B5EF4-FFF2-40B4-BE49-F238E27FC236}">
                <a16:creationId xmlns:a16="http://schemas.microsoft.com/office/drawing/2014/main" id="{5213D119-488F-4EDE-949C-AB979CB8F83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155180" y="5113250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50" name="Content Placeholder 32">
            <a:extLst>
              <a:ext uri="{FF2B5EF4-FFF2-40B4-BE49-F238E27FC236}">
                <a16:creationId xmlns:a16="http://schemas.microsoft.com/office/drawing/2014/main" id="{4F222219-B49A-46EA-A36A-A5BC720640F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78880" y="1087422"/>
            <a:ext cx="5074920" cy="70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6EC075C0-E78E-42AB-B2D1-C36FEDB793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5998" y="6491605"/>
            <a:ext cx="14105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3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3131893D-A0E0-4BEF-8FC1-EE1E60E7E04A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772A04-8986-4CD6-9565-17330BB72ABE}"/>
              </a:ext>
            </a:extLst>
          </p:cNvPr>
          <p:cNvSpPr/>
          <p:nvPr userDrawn="1"/>
        </p:nvSpPr>
        <p:spPr>
          <a:xfrm>
            <a:off x="-1546860" y="0"/>
            <a:ext cx="1272540" cy="7391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931DFF-60E7-4D0D-B01E-3664D4DD573B}"/>
              </a:ext>
            </a:extLst>
          </p:cNvPr>
          <p:cNvSpPr/>
          <p:nvPr userDrawn="1"/>
        </p:nvSpPr>
        <p:spPr>
          <a:xfrm>
            <a:off x="-1546860" y="1019598"/>
            <a:ext cx="1272540" cy="7391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5765846-43C6-4DCE-B59A-7504A155A477}"/>
              </a:ext>
            </a:extLst>
          </p:cNvPr>
          <p:cNvSpPr/>
          <p:nvPr userDrawn="1"/>
        </p:nvSpPr>
        <p:spPr>
          <a:xfrm>
            <a:off x="-1546860" y="2039196"/>
            <a:ext cx="1272540" cy="7391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C3B902-92F4-4622-838A-C17CBE654340}"/>
              </a:ext>
            </a:extLst>
          </p:cNvPr>
          <p:cNvSpPr/>
          <p:nvPr userDrawn="1"/>
        </p:nvSpPr>
        <p:spPr>
          <a:xfrm>
            <a:off x="-1546860" y="3058794"/>
            <a:ext cx="1272540" cy="73914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72BFE58-EBC9-4AC0-A59B-B5A030DA7534}"/>
              </a:ext>
            </a:extLst>
          </p:cNvPr>
          <p:cNvSpPr/>
          <p:nvPr userDrawn="1"/>
        </p:nvSpPr>
        <p:spPr>
          <a:xfrm>
            <a:off x="-1546860" y="4078392"/>
            <a:ext cx="1272540" cy="7391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856DAF0-30E2-4EA3-B01B-99F1CCEF5C16}"/>
              </a:ext>
            </a:extLst>
          </p:cNvPr>
          <p:cNvSpPr/>
          <p:nvPr userDrawn="1"/>
        </p:nvSpPr>
        <p:spPr>
          <a:xfrm>
            <a:off x="-1546860" y="5097990"/>
            <a:ext cx="1272540" cy="73914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ijdelijke aanduiding voor tekst 2">
            <a:extLst>
              <a:ext uri="{FF2B5EF4-FFF2-40B4-BE49-F238E27FC236}">
                <a16:creationId xmlns:a16="http://schemas.microsoft.com/office/drawing/2014/main" id="{04302339-5619-4665-A450-B68A85E00CA3}"/>
              </a:ext>
            </a:extLst>
          </p:cNvPr>
          <p:cNvSpPr txBox="1">
            <a:spLocks/>
          </p:cNvSpPr>
          <p:nvPr userDrawn="1"/>
        </p:nvSpPr>
        <p:spPr>
          <a:xfrm>
            <a:off x="7506546" y="6606269"/>
            <a:ext cx="3677920" cy="1865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kern="1200" cap="none" spc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>
                <a:effectLst/>
              </a:rPr>
              <a:t>STRICTLY CONFIDENTIAL |</a:t>
            </a:r>
            <a:endParaRPr lang="en-GB" sz="1000" b="1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7740044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22BFDCC-3EE2-4AB7-99DB-57605C349F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7211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22BFDCC-3EE2-4AB7-99DB-57605C349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air, silhouette&#10;&#10;Description automatically generated">
            <a:extLst>
              <a:ext uri="{FF2B5EF4-FFF2-40B4-BE49-F238E27FC236}">
                <a16:creationId xmlns:a16="http://schemas.microsoft.com/office/drawing/2014/main" id="{3EC3C555-E69A-41DC-8D31-D0BC10A921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46680F8-C395-4A2F-819A-B89AB2CC85F4}"/>
              </a:ext>
            </a:extLst>
          </p:cNvPr>
          <p:cNvSpPr/>
          <p:nvPr userDrawn="1"/>
        </p:nvSpPr>
        <p:spPr>
          <a:xfrm>
            <a:off x="-1" y="0"/>
            <a:ext cx="6095999" cy="6859055"/>
          </a:xfrm>
          <a:prstGeom prst="rect">
            <a:avLst/>
          </a:prstGeom>
          <a:gradFill>
            <a:gsLst>
              <a:gs pos="34000">
                <a:srgbClr val="F7D379">
                  <a:alpha val="50000"/>
                </a:srgbClr>
              </a:gs>
              <a:gs pos="0">
                <a:srgbClr val="F7D379">
                  <a:alpha val="50000"/>
                  <a:lumMod val="80000"/>
                  <a:lumOff val="20000"/>
                </a:srgbClr>
              </a:gs>
              <a:gs pos="76000">
                <a:schemeClr val="accent2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22379FAC-BA7E-4BD2-849A-AA1CB83CDD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Afbeelding 6">
            <a:extLst>
              <a:ext uri="{FF2B5EF4-FFF2-40B4-BE49-F238E27FC236}">
                <a16:creationId xmlns:a16="http://schemas.microsoft.com/office/drawing/2014/main" id="{4C7EE670-59FE-4F5B-9B1E-D532DE0E717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9557" y="6249898"/>
            <a:ext cx="2062066" cy="540000"/>
          </a:xfrm>
          <a:prstGeom prst="rect">
            <a:avLst/>
          </a:prstGeom>
        </p:spPr>
      </p:pic>
      <p:sp>
        <p:nvSpPr>
          <p:cNvPr id="34" name="Content Placeholder 32">
            <a:extLst>
              <a:ext uri="{FF2B5EF4-FFF2-40B4-BE49-F238E27FC236}">
                <a16:creationId xmlns:a16="http://schemas.microsoft.com/office/drawing/2014/main" id="{26C5477B-7ABF-4BD9-83E8-0CC5AD431F1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8880" y="365126"/>
            <a:ext cx="5074920" cy="70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Title to come</a:t>
            </a:r>
          </a:p>
        </p:txBody>
      </p:sp>
      <p:sp>
        <p:nvSpPr>
          <p:cNvPr id="38" name="Content Placeholder 32">
            <a:extLst>
              <a:ext uri="{FF2B5EF4-FFF2-40B4-BE49-F238E27FC236}">
                <a16:creationId xmlns:a16="http://schemas.microsoft.com/office/drawing/2014/main" id="{6F0F0BA4-0067-44B6-A867-DF919672897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155180" y="1866901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0" name="Content Placeholder 32">
            <a:extLst>
              <a:ext uri="{FF2B5EF4-FFF2-40B4-BE49-F238E27FC236}">
                <a16:creationId xmlns:a16="http://schemas.microsoft.com/office/drawing/2014/main" id="{0B79743C-128B-4912-8EE6-D176E9B7C0D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155180" y="2959034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1" name="Content Placeholder 32">
            <a:extLst>
              <a:ext uri="{FF2B5EF4-FFF2-40B4-BE49-F238E27FC236}">
                <a16:creationId xmlns:a16="http://schemas.microsoft.com/office/drawing/2014/main" id="{3AE5EF70-0441-4E17-B388-85EFD2DD7D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155180" y="3977405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2" name="Content Placeholder 32">
            <a:extLst>
              <a:ext uri="{FF2B5EF4-FFF2-40B4-BE49-F238E27FC236}">
                <a16:creationId xmlns:a16="http://schemas.microsoft.com/office/drawing/2014/main" id="{5213D119-488F-4EDE-949C-AB979CB8F83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155180" y="5113250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50" name="Content Placeholder 32">
            <a:extLst>
              <a:ext uri="{FF2B5EF4-FFF2-40B4-BE49-F238E27FC236}">
                <a16:creationId xmlns:a16="http://schemas.microsoft.com/office/drawing/2014/main" id="{4F222219-B49A-46EA-A36A-A5BC720640F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78880" y="1087422"/>
            <a:ext cx="5074920" cy="70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291A92E-D8E3-4402-9164-21EEECB269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5998" y="6491605"/>
            <a:ext cx="14105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3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3131893D-A0E0-4BEF-8FC1-EE1E60E7E04A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1183CD3-B1A4-4542-A163-7DD2DF994115}"/>
              </a:ext>
            </a:extLst>
          </p:cNvPr>
          <p:cNvSpPr/>
          <p:nvPr userDrawn="1"/>
        </p:nvSpPr>
        <p:spPr>
          <a:xfrm>
            <a:off x="-1546860" y="0"/>
            <a:ext cx="1272540" cy="7391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4CFE24B-7587-4E0D-8773-E576DDA18503}"/>
              </a:ext>
            </a:extLst>
          </p:cNvPr>
          <p:cNvSpPr/>
          <p:nvPr userDrawn="1"/>
        </p:nvSpPr>
        <p:spPr>
          <a:xfrm>
            <a:off x="-1546860" y="1019598"/>
            <a:ext cx="1272540" cy="7391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973A1FF-DD04-444A-86B5-8FB791FF58D5}"/>
              </a:ext>
            </a:extLst>
          </p:cNvPr>
          <p:cNvSpPr/>
          <p:nvPr userDrawn="1"/>
        </p:nvSpPr>
        <p:spPr>
          <a:xfrm>
            <a:off x="-1546860" y="2039196"/>
            <a:ext cx="1272540" cy="7391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F13ACA5-4C1A-4B68-AC03-275671EC7410}"/>
              </a:ext>
            </a:extLst>
          </p:cNvPr>
          <p:cNvSpPr/>
          <p:nvPr userDrawn="1"/>
        </p:nvSpPr>
        <p:spPr>
          <a:xfrm>
            <a:off x="-1546860" y="3058794"/>
            <a:ext cx="1272540" cy="73914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3B738A7-767E-4B47-88C5-AF603973BE00}"/>
              </a:ext>
            </a:extLst>
          </p:cNvPr>
          <p:cNvSpPr/>
          <p:nvPr userDrawn="1"/>
        </p:nvSpPr>
        <p:spPr>
          <a:xfrm>
            <a:off x="-1546860" y="4078392"/>
            <a:ext cx="1272540" cy="7391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363241-5F79-47B9-AE16-32FC357047B6}"/>
              </a:ext>
            </a:extLst>
          </p:cNvPr>
          <p:cNvSpPr/>
          <p:nvPr userDrawn="1"/>
        </p:nvSpPr>
        <p:spPr>
          <a:xfrm>
            <a:off x="-1546860" y="5097990"/>
            <a:ext cx="1272540" cy="73914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jdelijke aanduiding voor tekst 2">
            <a:extLst>
              <a:ext uri="{FF2B5EF4-FFF2-40B4-BE49-F238E27FC236}">
                <a16:creationId xmlns:a16="http://schemas.microsoft.com/office/drawing/2014/main" id="{7D3F4CD7-86CF-45D0-A94F-BC1E3B01EA93}"/>
              </a:ext>
            </a:extLst>
          </p:cNvPr>
          <p:cNvSpPr txBox="1">
            <a:spLocks/>
          </p:cNvSpPr>
          <p:nvPr userDrawn="1"/>
        </p:nvSpPr>
        <p:spPr>
          <a:xfrm>
            <a:off x="7506546" y="6606269"/>
            <a:ext cx="3677920" cy="1865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kern="1200" cap="none" spc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>
                <a:effectLst/>
              </a:rPr>
              <a:t>STRICTLY CONFIDENTIAL |</a:t>
            </a:r>
            <a:endParaRPr lang="en-GB" sz="1000" b="1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021866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22BFDCC-3EE2-4AB7-99DB-57605C349F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9900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22BFDCC-3EE2-4AB7-99DB-57605C349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icture containing outdoor, transport&#10;&#10;Description automatically generated">
            <a:extLst>
              <a:ext uri="{FF2B5EF4-FFF2-40B4-BE49-F238E27FC236}">
                <a16:creationId xmlns:a16="http://schemas.microsoft.com/office/drawing/2014/main" id="{E56BAF37-8DA8-49AF-9A59-808E337C7C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5815761-81CD-4D70-BF20-1CE371590FCD}"/>
              </a:ext>
            </a:extLst>
          </p:cNvPr>
          <p:cNvSpPr/>
          <p:nvPr userDrawn="1"/>
        </p:nvSpPr>
        <p:spPr>
          <a:xfrm>
            <a:off x="-1" y="0"/>
            <a:ext cx="6095999" cy="6859055"/>
          </a:xfrm>
          <a:prstGeom prst="rect">
            <a:avLst/>
          </a:prstGeom>
          <a:gradFill>
            <a:gsLst>
              <a:gs pos="34000">
                <a:srgbClr val="F7D379">
                  <a:alpha val="50000"/>
                </a:srgbClr>
              </a:gs>
              <a:gs pos="0">
                <a:srgbClr val="F7D379">
                  <a:alpha val="50000"/>
                  <a:lumMod val="80000"/>
                  <a:lumOff val="20000"/>
                </a:srgbClr>
              </a:gs>
              <a:gs pos="76000">
                <a:schemeClr val="accent2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63C79DAB-8B6D-4CB9-9441-272EAC402E5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Afbeelding 6">
            <a:extLst>
              <a:ext uri="{FF2B5EF4-FFF2-40B4-BE49-F238E27FC236}">
                <a16:creationId xmlns:a16="http://schemas.microsoft.com/office/drawing/2014/main" id="{4C7EE670-59FE-4F5B-9B1E-D532DE0E717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9557" y="6249898"/>
            <a:ext cx="2062066" cy="540000"/>
          </a:xfrm>
          <a:prstGeom prst="rect">
            <a:avLst/>
          </a:prstGeom>
        </p:spPr>
      </p:pic>
      <p:sp>
        <p:nvSpPr>
          <p:cNvPr id="34" name="Content Placeholder 32">
            <a:extLst>
              <a:ext uri="{FF2B5EF4-FFF2-40B4-BE49-F238E27FC236}">
                <a16:creationId xmlns:a16="http://schemas.microsoft.com/office/drawing/2014/main" id="{26C5477B-7ABF-4BD9-83E8-0CC5AD431F1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8880" y="365126"/>
            <a:ext cx="5074920" cy="70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Title to come</a:t>
            </a:r>
          </a:p>
        </p:txBody>
      </p:sp>
      <p:sp>
        <p:nvSpPr>
          <p:cNvPr id="38" name="Content Placeholder 32">
            <a:extLst>
              <a:ext uri="{FF2B5EF4-FFF2-40B4-BE49-F238E27FC236}">
                <a16:creationId xmlns:a16="http://schemas.microsoft.com/office/drawing/2014/main" id="{6F0F0BA4-0067-44B6-A867-DF919672897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155180" y="1866901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0" name="Content Placeholder 32">
            <a:extLst>
              <a:ext uri="{FF2B5EF4-FFF2-40B4-BE49-F238E27FC236}">
                <a16:creationId xmlns:a16="http://schemas.microsoft.com/office/drawing/2014/main" id="{0B79743C-128B-4912-8EE6-D176E9B7C0D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155180" y="2959034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1" name="Content Placeholder 32">
            <a:extLst>
              <a:ext uri="{FF2B5EF4-FFF2-40B4-BE49-F238E27FC236}">
                <a16:creationId xmlns:a16="http://schemas.microsoft.com/office/drawing/2014/main" id="{3AE5EF70-0441-4E17-B388-85EFD2DD7D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155180" y="3977405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2" name="Content Placeholder 32">
            <a:extLst>
              <a:ext uri="{FF2B5EF4-FFF2-40B4-BE49-F238E27FC236}">
                <a16:creationId xmlns:a16="http://schemas.microsoft.com/office/drawing/2014/main" id="{5213D119-488F-4EDE-949C-AB979CB8F83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155180" y="5113250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50" name="Content Placeholder 32">
            <a:extLst>
              <a:ext uri="{FF2B5EF4-FFF2-40B4-BE49-F238E27FC236}">
                <a16:creationId xmlns:a16="http://schemas.microsoft.com/office/drawing/2014/main" id="{4F222219-B49A-46EA-A36A-A5BC720640F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78880" y="1087422"/>
            <a:ext cx="5074920" cy="70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C87FEE0-3CFE-4076-93C6-C5B7739D6F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5998" y="6491605"/>
            <a:ext cx="14105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3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3131893D-A0E0-4BEF-8FC1-EE1E60E7E04A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294BF2-3A47-4978-A948-9AFDCF25F597}"/>
              </a:ext>
            </a:extLst>
          </p:cNvPr>
          <p:cNvSpPr/>
          <p:nvPr userDrawn="1"/>
        </p:nvSpPr>
        <p:spPr>
          <a:xfrm>
            <a:off x="-1546860" y="0"/>
            <a:ext cx="1272540" cy="7391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142653A-8648-4E8E-A7DA-C58DEFF1B8EA}"/>
              </a:ext>
            </a:extLst>
          </p:cNvPr>
          <p:cNvSpPr/>
          <p:nvPr userDrawn="1"/>
        </p:nvSpPr>
        <p:spPr>
          <a:xfrm>
            <a:off x="-1546860" y="1019598"/>
            <a:ext cx="1272540" cy="7391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40C2537-2330-4A22-9CEC-DACEAEB38443}"/>
              </a:ext>
            </a:extLst>
          </p:cNvPr>
          <p:cNvSpPr/>
          <p:nvPr userDrawn="1"/>
        </p:nvSpPr>
        <p:spPr>
          <a:xfrm>
            <a:off x="-1546860" y="2039196"/>
            <a:ext cx="1272540" cy="7391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3A6C6BE-3DCC-4C57-B3F7-1AB221C19EAC}"/>
              </a:ext>
            </a:extLst>
          </p:cNvPr>
          <p:cNvSpPr/>
          <p:nvPr userDrawn="1"/>
        </p:nvSpPr>
        <p:spPr>
          <a:xfrm>
            <a:off x="-1546860" y="3058794"/>
            <a:ext cx="1272540" cy="73914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CFE093F-0A50-4C2F-9B85-9F25CBBAB805}"/>
              </a:ext>
            </a:extLst>
          </p:cNvPr>
          <p:cNvSpPr/>
          <p:nvPr userDrawn="1"/>
        </p:nvSpPr>
        <p:spPr>
          <a:xfrm>
            <a:off x="-1546860" y="4078392"/>
            <a:ext cx="1272540" cy="7391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A1EC2ED-8107-45A1-87A2-F66243C5970B}"/>
              </a:ext>
            </a:extLst>
          </p:cNvPr>
          <p:cNvSpPr/>
          <p:nvPr userDrawn="1"/>
        </p:nvSpPr>
        <p:spPr>
          <a:xfrm>
            <a:off x="-1546860" y="5097990"/>
            <a:ext cx="1272540" cy="73914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jdelijke aanduiding voor tekst 2">
            <a:extLst>
              <a:ext uri="{FF2B5EF4-FFF2-40B4-BE49-F238E27FC236}">
                <a16:creationId xmlns:a16="http://schemas.microsoft.com/office/drawing/2014/main" id="{5EB75088-6A70-41C9-BCC7-F2D0445D634D}"/>
              </a:ext>
            </a:extLst>
          </p:cNvPr>
          <p:cNvSpPr txBox="1">
            <a:spLocks/>
          </p:cNvSpPr>
          <p:nvPr userDrawn="1"/>
        </p:nvSpPr>
        <p:spPr>
          <a:xfrm>
            <a:off x="7506546" y="6606269"/>
            <a:ext cx="3677920" cy="1865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kern="1200" cap="none" spc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>
                <a:effectLst/>
              </a:rPr>
              <a:t>STRICTLY CONFIDENTIAL |</a:t>
            </a:r>
            <a:endParaRPr lang="en-GB" sz="1000" b="1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2936706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ro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393DC177-9BA8-41F4-A13E-77269C6F7F8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DCC3E5CB-7AEB-422E-B7EB-77BCBF09490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B7DB2AA-4B25-460A-93EF-086B75A892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-1055"/>
            <a:ext cx="9144000" cy="1986609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9EEFF9B3-5DFE-40A8-961A-FA74F22944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985554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8819092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p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8899D963-B8BE-464F-AD60-EA6ECC28A9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22BFDCC-3EE2-4AB7-99DB-57605C349F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23805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22BFDCC-3EE2-4AB7-99DB-57605C349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outdoor, flock, rock&#10;&#10;Description automatically generated">
            <a:extLst>
              <a:ext uri="{FF2B5EF4-FFF2-40B4-BE49-F238E27FC236}">
                <a16:creationId xmlns:a16="http://schemas.microsoft.com/office/drawing/2014/main" id="{6D2313B5-47B8-4A4B-B6B6-7DF928E293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9F197E44-5357-491B-B857-28B6B2680060}"/>
              </a:ext>
            </a:extLst>
          </p:cNvPr>
          <p:cNvSpPr/>
          <p:nvPr userDrawn="1"/>
        </p:nvSpPr>
        <p:spPr>
          <a:xfrm>
            <a:off x="0" y="-2325"/>
            <a:ext cx="6095999" cy="6859055"/>
          </a:xfrm>
          <a:prstGeom prst="rect">
            <a:avLst/>
          </a:prstGeom>
          <a:gradFill>
            <a:gsLst>
              <a:gs pos="34000">
                <a:srgbClr val="F7D379">
                  <a:alpha val="50000"/>
                  <a:lumMod val="70000"/>
                  <a:lumOff val="30000"/>
                </a:srgbClr>
              </a:gs>
              <a:gs pos="0">
                <a:srgbClr val="F7D379">
                  <a:alpha val="50000"/>
                  <a:lumMod val="100000"/>
                </a:srgbClr>
              </a:gs>
              <a:gs pos="76000">
                <a:schemeClr val="accent2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pic>
        <p:nvPicPr>
          <p:cNvPr id="10" name="Afbeelding 6">
            <a:extLst>
              <a:ext uri="{FF2B5EF4-FFF2-40B4-BE49-F238E27FC236}">
                <a16:creationId xmlns:a16="http://schemas.microsoft.com/office/drawing/2014/main" id="{4C7EE670-59FE-4F5B-9B1E-D532DE0E717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9557" y="6249898"/>
            <a:ext cx="2062066" cy="540000"/>
          </a:xfrm>
          <a:prstGeom prst="rect">
            <a:avLst/>
          </a:prstGeom>
        </p:spPr>
      </p:pic>
      <p:sp>
        <p:nvSpPr>
          <p:cNvPr id="34" name="Content Placeholder 32">
            <a:extLst>
              <a:ext uri="{FF2B5EF4-FFF2-40B4-BE49-F238E27FC236}">
                <a16:creationId xmlns:a16="http://schemas.microsoft.com/office/drawing/2014/main" id="{26C5477B-7ABF-4BD9-83E8-0CC5AD431F1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8880" y="365126"/>
            <a:ext cx="5074920" cy="70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Title to come</a:t>
            </a:r>
          </a:p>
        </p:txBody>
      </p:sp>
      <p:sp>
        <p:nvSpPr>
          <p:cNvPr id="38" name="Content Placeholder 32">
            <a:extLst>
              <a:ext uri="{FF2B5EF4-FFF2-40B4-BE49-F238E27FC236}">
                <a16:creationId xmlns:a16="http://schemas.microsoft.com/office/drawing/2014/main" id="{6F0F0BA4-0067-44B6-A867-DF919672897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155180" y="1866901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0" name="Content Placeholder 32">
            <a:extLst>
              <a:ext uri="{FF2B5EF4-FFF2-40B4-BE49-F238E27FC236}">
                <a16:creationId xmlns:a16="http://schemas.microsoft.com/office/drawing/2014/main" id="{0B79743C-128B-4912-8EE6-D176E9B7C0D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155180" y="2959034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1" name="Content Placeholder 32">
            <a:extLst>
              <a:ext uri="{FF2B5EF4-FFF2-40B4-BE49-F238E27FC236}">
                <a16:creationId xmlns:a16="http://schemas.microsoft.com/office/drawing/2014/main" id="{3AE5EF70-0441-4E17-B388-85EFD2DD7D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155180" y="3977405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2" name="Content Placeholder 32">
            <a:extLst>
              <a:ext uri="{FF2B5EF4-FFF2-40B4-BE49-F238E27FC236}">
                <a16:creationId xmlns:a16="http://schemas.microsoft.com/office/drawing/2014/main" id="{5213D119-488F-4EDE-949C-AB979CB8F83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155180" y="5113250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50" name="Content Placeholder 32">
            <a:extLst>
              <a:ext uri="{FF2B5EF4-FFF2-40B4-BE49-F238E27FC236}">
                <a16:creationId xmlns:a16="http://schemas.microsoft.com/office/drawing/2014/main" id="{4F222219-B49A-46EA-A36A-A5BC720640F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78880" y="1087422"/>
            <a:ext cx="5074920" cy="70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DD78A57-1460-4F5B-B6EF-63CE0AA83F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5998" y="6491605"/>
            <a:ext cx="14105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3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3131893D-A0E0-4BEF-8FC1-EE1E60E7E04A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1D09BEC-F6F9-4B48-A270-C527D85BA41B}"/>
              </a:ext>
            </a:extLst>
          </p:cNvPr>
          <p:cNvSpPr/>
          <p:nvPr userDrawn="1"/>
        </p:nvSpPr>
        <p:spPr>
          <a:xfrm>
            <a:off x="-1546860" y="0"/>
            <a:ext cx="1272540" cy="7391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8D4CC2D-8FB6-49A4-9869-06CCC8BA35FE}"/>
              </a:ext>
            </a:extLst>
          </p:cNvPr>
          <p:cNvSpPr/>
          <p:nvPr userDrawn="1"/>
        </p:nvSpPr>
        <p:spPr>
          <a:xfrm>
            <a:off x="-1546860" y="1019598"/>
            <a:ext cx="1272540" cy="7391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B939A21-2C1A-4B13-B864-F3BBC3F3E2C9}"/>
              </a:ext>
            </a:extLst>
          </p:cNvPr>
          <p:cNvSpPr/>
          <p:nvPr userDrawn="1"/>
        </p:nvSpPr>
        <p:spPr>
          <a:xfrm>
            <a:off x="-1546860" y="2039196"/>
            <a:ext cx="1272540" cy="7391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B3F47BD-9022-4199-AC0B-026A1854E0D9}"/>
              </a:ext>
            </a:extLst>
          </p:cNvPr>
          <p:cNvSpPr/>
          <p:nvPr userDrawn="1"/>
        </p:nvSpPr>
        <p:spPr>
          <a:xfrm>
            <a:off x="-1546860" y="3058794"/>
            <a:ext cx="1272540" cy="73914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AB501BC-A219-4E41-A8C1-CFA8DF5F2956}"/>
              </a:ext>
            </a:extLst>
          </p:cNvPr>
          <p:cNvSpPr/>
          <p:nvPr userDrawn="1"/>
        </p:nvSpPr>
        <p:spPr>
          <a:xfrm>
            <a:off x="-1546860" y="4078392"/>
            <a:ext cx="1272540" cy="7391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B1FDE17-E432-41BE-AC62-28A481D9EA21}"/>
              </a:ext>
            </a:extLst>
          </p:cNvPr>
          <p:cNvSpPr/>
          <p:nvPr userDrawn="1"/>
        </p:nvSpPr>
        <p:spPr>
          <a:xfrm>
            <a:off x="-1546860" y="5097990"/>
            <a:ext cx="1272540" cy="73914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ijdelijke aanduiding voor tekst 2">
            <a:extLst>
              <a:ext uri="{FF2B5EF4-FFF2-40B4-BE49-F238E27FC236}">
                <a16:creationId xmlns:a16="http://schemas.microsoft.com/office/drawing/2014/main" id="{E224DE53-165D-46B8-B42E-0B9B5A569BE1}"/>
              </a:ext>
            </a:extLst>
          </p:cNvPr>
          <p:cNvSpPr txBox="1">
            <a:spLocks/>
          </p:cNvSpPr>
          <p:nvPr userDrawn="1"/>
        </p:nvSpPr>
        <p:spPr>
          <a:xfrm>
            <a:off x="7506546" y="6606269"/>
            <a:ext cx="3677920" cy="1865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kern="1200" cap="none" spc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>
                <a:effectLst/>
              </a:rPr>
              <a:t>STRICTLY CONFIDENTIAL |</a:t>
            </a:r>
            <a:endParaRPr lang="en-GB" sz="1000" b="1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0829176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p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DCC2F6C7-D500-49C1-B81A-15A4930E56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22BFDCC-3EE2-4AB7-99DB-57605C349F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93487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22BFDCC-3EE2-4AB7-99DB-57605C349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icture containing outdoor, ground, nature, dirt&#10;&#10;Description automatically generated">
            <a:extLst>
              <a:ext uri="{FF2B5EF4-FFF2-40B4-BE49-F238E27FC236}">
                <a16:creationId xmlns:a16="http://schemas.microsoft.com/office/drawing/2014/main" id="{AA20815D-0592-4550-B94F-88E5148705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7D999AC-F82F-4C96-AE95-B12D5EE93BFD}"/>
              </a:ext>
            </a:extLst>
          </p:cNvPr>
          <p:cNvSpPr/>
          <p:nvPr userDrawn="1"/>
        </p:nvSpPr>
        <p:spPr>
          <a:xfrm>
            <a:off x="-1" y="0"/>
            <a:ext cx="6095999" cy="6859055"/>
          </a:xfrm>
          <a:prstGeom prst="rect">
            <a:avLst/>
          </a:prstGeom>
          <a:gradFill>
            <a:gsLst>
              <a:gs pos="34000">
                <a:srgbClr val="F7D379">
                  <a:alpha val="50000"/>
                </a:srgbClr>
              </a:gs>
              <a:gs pos="0">
                <a:srgbClr val="F7D379">
                  <a:alpha val="50000"/>
                  <a:lumMod val="80000"/>
                  <a:lumOff val="20000"/>
                </a:srgbClr>
              </a:gs>
              <a:gs pos="76000">
                <a:schemeClr val="accent2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pic>
        <p:nvPicPr>
          <p:cNvPr id="10" name="Afbeelding 6">
            <a:extLst>
              <a:ext uri="{FF2B5EF4-FFF2-40B4-BE49-F238E27FC236}">
                <a16:creationId xmlns:a16="http://schemas.microsoft.com/office/drawing/2014/main" id="{4C7EE670-59FE-4F5B-9B1E-D532DE0E717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9557" y="6249898"/>
            <a:ext cx="2062066" cy="540000"/>
          </a:xfrm>
          <a:prstGeom prst="rect">
            <a:avLst/>
          </a:prstGeom>
        </p:spPr>
      </p:pic>
      <p:sp>
        <p:nvSpPr>
          <p:cNvPr id="34" name="Content Placeholder 32">
            <a:extLst>
              <a:ext uri="{FF2B5EF4-FFF2-40B4-BE49-F238E27FC236}">
                <a16:creationId xmlns:a16="http://schemas.microsoft.com/office/drawing/2014/main" id="{26C5477B-7ABF-4BD9-83E8-0CC5AD431F1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8880" y="365126"/>
            <a:ext cx="5074920" cy="70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Title to come</a:t>
            </a:r>
          </a:p>
        </p:txBody>
      </p:sp>
      <p:sp>
        <p:nvSpPr>
          <p:cNvPr id="38" name="Content Placeholder 32">
            <a:extLst>
              <a:ext uri="{FF2B5EF4-FFF2-40B4-BE49-F238E27FC236}">
                <a16:creationId xmlns:a16="http://schemas.microsoft.com/office/drawing/2014/main" id="{6F0F0BA4-0067-44B6-A867-DF919672897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155180" y="1866901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0" name="Content Placeholder 32">
            <a:extLst>
              <a:ext uri="{FF2B5EF4-FFF2-40B4-BE49-F238E27FC236}">
                <a16:creationId xmlns:a16="http://schemas.microsoft.com/office/drawing/2014/main" id="{0B79743C-128B-4912-8EE6-D176E9B7C0D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155180" y="2959034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1" name="Content Placeholder 32">
            <a:extLst>
              <a:ext uri="{FF2B5EF4-FFF2-40B4-BE49-F238E27FC236}">
                <a16:creationId xmlns:a16="http://schemas.microsoft.com/office/drawing/2014/main" id="{3AE5EF70-0441-4E17-B388-85EFD2DD7D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155180" y="3977405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2" name="Content Placeholder 32">
            <a:extLst>
              <a:ext uri="{FF2B5EF4-FFF2-40B4-BE49-F238E27FC236}">
                <a16:creationId xmlns:a16="http://schemas.microsoft.com/office/drawing/2014/main" id="{5213D119-488F-4EDE-949C-AB979CB8F83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155180" y="5113250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50" name="Content Placeholder 32">
            <a:extLst>
              <a:ext uri="{FF2B5EF4-FFF2-40B4-BE49-F238E27FC236}">
                <a16:creationId xmlns:a16="http://schemas.microsoft.com/office/drawing/2014/main" id="{4F222219-B49A-46EA-A36A-A5BC720640F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78880" y="1087422"/>
            <a:ext cx="5074920" cy="70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602D008-72D5-459C-889B-B2A02D4F12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5998" y="6491605"/>
            <a:ext cx="14105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3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3131893D-A0E0-4BEF-8FC1-EE1E60E7E04A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9FF513A-33AE-4F15-BECF-BA308A3E8D03}"/>
              </a:ext>
            </a:extLst>
          </p:cNvPr>
          <p:cNvSpPr/>
          <p:nvPr userDrawn="1"/>
        </p:nvSpPr>
        <p:spPr>
          <a:xfrm>
            <a:off x="-1546860" y="0"/>
            <a:ext cx="1272540" cy="7391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DE3373-42AE-4581-8968-74B623109F0D}"/>
              </a:ext>
            </a:extLst>
          </p:cNvPr>
          <p:cNvSpPr/>
          <p:nvPr userDrawn="1"/>
        </p:nvSpPr>
        <p:spPr>
          <a:xfrm>
            <a:off x="-1546860" y="1019598"/>
            <a:ext cx="1272540" cy="7391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BFE75E0-C85F-4652-96A5-FEEFF864A29E}"/>
              </a:ext>
            </a:extLst>
          </p:cNvPr>
          <p:cNvSpPr/>
          <p:nvPr userDrawn="1"/>
        </p:nvSpPr>
        <p:spPr>
          <a:xfrm>
            <a:off x="-1546860" y="2039196"/>
            <a:ext cx="1272540" cy="7391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AE15589-DA89-4F26-9001-FF5818B1AF8B}"/>
              </a:ext>
            </a:extLst>
          </p:cNvPr>
          <p:cNvSpPr/>
          <p:nvPr userDrawn="1"/>
        </p:nvSpPr>
        <p:spPr>
          <a:xfrm>
            <a:off x="-1546860" y="3058794"/>
            <a:ext cx="1272540" cy="73914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317DF5A-3BAB-451D-BD55-90CA75E3D1CD}"/>
              </a:ext>
            </a:extLst>
          </p:cNvPr>
          <p:cNvSpPr/>
          <p:nvPr userDrawn="1"/>
        </p:nvSpPr>
        <p:spPr>
          <a:xfrm>
            <a:off x="-1546860" y="4078392"/>
            <a:ext cx="1272540" cy="7391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BEB80F-1D6E-4205-88F9-F54DF9997CD9}"/>
              </a:ext>
            </a:extLst>
          </p:cNvPr>
          <p:cNvSpPr/>
          <p:nvPr userDrawn="1"/>
        </p:nvSpPr>
        <p:spPr>
          <a:xfrm>
            <a:off x="-1546860" y="5097990"/>
            <a:ext cx="1272540" cy="73914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jdelijke aanduiding voor tekst 2">
            <a:extLst>
              <a:ext uri="{FF2B5EF4-FFF2-40B4-BE49-F238E27FC236}">
                <a16:creationId xmlns:a16="http://schemas.microsoft.com/office/drawing/2014/main" id="{3E30714C-A175-4EAF-9E54-793BB9572997}"/>
              </a:ext>
            </a:extLst>
          </p:cNvPr>
          <p:cNvSpPr txBox="1">
            <a:spLocks/>
          </p:cNvSpPr>
          <p:nvPr userDrawn="1"/>
        </p:nvSpPr>
        <p:spPr>
          <a:xfrm>
            <a:off x="7506546" y="6606269"/>
            <a:ext cx="3677920" cy="1865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kern="1200" cap="none" spc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>
                <a:effectLst/>
              </a:rPr>
              <a:t>STRICTLY CONFIDENTIAL |</a:t>
            </a:r>
            <a:endParaRPr lang="en-GB" sz="1000" b="1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720066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p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BF3DDA69-D2C3-4F1C-878E-67DA657F9CB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22BFDCC-3EE2-4AB7-99DB-57605C349F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88668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22BFDCC-3EE2-4AB7-99DB-57605C349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 descr="A picture containing building, indoor, several, dirty&#10;&#10;Description automatically generated">
            <a:extLst>
              <a:ext uri="{FF2B5EF4-FFF2-40B4-BE49-F238E27FC236}">
                <a16:creationId xmlns:a16="http://schemas.microsoft.com/office/drawing/2014/main" id="{57AC9DD2-25A3-41BF-B23B-2A96B83C76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55"/>
            <a:ext cx="6095998" cy="685905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7D999AC-F82F-4C96-AE95-B12D5EE93BFD}"/>
              </a:ext>
            </a:extLst>
          </p:cNvPr>
          <p:cNvSpPr/>
          <p:nvPr userDrawn="1"/>
        </p:nvSpPr>
        <p:spPr>
          <a:xfrm>
            <a:off x="-1" y="0"/>
            <a:ext cx="6095999" cy="6859055"/>
          </a:xfrm>
          <a:prstGeom prst="rect">
            <a:avLst/>
          </a:prstGeom>
          <a:gradFill>
            <a:gsLst>
              <a:gs pos="34000">
                <a:srgbClr val="F7D379">
                  <a:alpha val="50000"/>
                </a:srgbClr>
              </a:gs>
              <a:gs pos="0">
                <a:srgbClr val="F7D379">
                  <a:alpha val="50000"/>
                  <a:lumMod val="80000"/>
                  <a:lumOff val="20000"/>
                </a:srgbClr>
              </a:gs>
              <a:gs pos="76000">
                <a:schemeClr val="accent2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pic>
        <p:nvPicPr>
          <p:cNvPr id="10" name="Afbeelding 6">
            <a:extLst>
              <a:ext uri="{FF2B5EF4-FFF2-40B4-BE49-F238E27FC236}">
                <a16:creationId xmlns:a16="http://schemas.microsoft.com/office/drawing/2014/main" id="{4C7EE670-59FE-4F5B-9B1E-D532DE0E717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9557" y="6249898"/>
            <a:ext cx="2062066" cy="540000"/>
          </a:xfrm>
          <a:prstGeom prst="rect">
            <a:avLst/>
          </a:prstGeom>
        </p:spPr>
      </p:pic>
      <p:sp>
        <p:nvSpPr>
          <p:cNvPr id="34" name="Content Placeholder 32">
            <a:extLst>
              <a:ext uri="{FF2B5EF4-FFF2-40B4-BE49-F238E27FC236}">
                <a16:creationId xmlns:a16="http://schemas.microsoft.com/office/drawing/2014/main" id="{26C5477B-7ABF-4BD9-83E8-0CC5AD431F1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8880" y="365126"/>
            <a:ext cx="5074920" cy="70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Title to come</a:t>
            </a:r>
          </a:p>
        </p:txBody>
      </p:sp>
      <p:sp>
        <p:nvSpPr>
          <p:cNvPr id="38" name="Content Placeholder 32">
            <a:extLst>
              <a:ext uri="{FF2B5EF4-FFF2-40B4-BE49-F238E27FC236}">
                <a16:creationId xmlns:a16="http://schemas.microsoft.com/office/drawing/2014/main" id="{6F0F0BA4-0067-44B6-A867-DF919672897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155180" y="1866901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0" name="Content Placeholder 32">
            <a:extLst>
              <a:ext uri="{FF2B5EF4-FFF2-40B4-BE49-F238E27FC236}">
                <a16:creationId xmlns:a16="http://schemas.microsoft.com/office/drawing/2014/main" id="{0B79743C-128B-4912-8EE6-D176E9B7C0D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155180" y="2959034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1" name="Content Placeholder 32">
            <a:extLst>
              <a:ext uri="{FF2B5EF4-FFF2-40B4-BE49-F238E27FC236}">
                <a16:creationId xmlns:a16="http://schemas.microsoft.com/office/drawing/2014/main" id="{3AE5EF70-0441-4E17-B388-85EFD2DD7D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155180" y="3977405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2" name="Content Placeholder 32">
            <a:extLst>
              <a:ext uri="{FF2B5EF4-FFF2-40B4-BE49-F238E27FC236}">
                <a16:creationId xmlns:a16="http://schemas.microsoft.com/office/drawing/2014/main" id="{5213D119-488F-4EDE-949C-AB979CB8F83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155180" y="5113250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50" name="Content Placeholder 32">
            <a:extLst>
              <a:ext uri="{FF2B5EF4-FFF2-40B4-BE49-F238E27FC236}">
                <a16:creationId xmlns:a16="http://schemas.microsoft.com/office/drawing/2014/main" id="{4F222219-B49A-46EA-A36A-A5BC720640F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78880" y="1087422"/>
            <a:ext cx="5074920" cy="70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602D008-72D5-459C-889B-B2A02D4F12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5998" y="6491605"/>
            <a:ext cx="14105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3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3131893D-A0E0-4BEF-8FC1-EE1E60E7E04A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9FF513A-33AE-4F15-BECF-BA308A3E8D03}"/>
              </a:ext>
            </a:extLst>
          </p:cNvPr>
          <p:cNvSpPr/>
          <p:nvPr userDrawn="1"/>
        </p:nvSpPr>
        <p:spPr>
          <a:xfrm>
            <a:off x="-1546860" y="0"/>
            <a:ext cx="1272540" cy="7391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DE3373-42AE-4581-8968-74B623109F0D}"/>
              </a:ext>
            </a:extLst>
          </p:cNvPr>
          <p:cNvSpPr/>
          <p:nvPr userDrawn="1"/>
        </p:nvSpPr>
        <p:spPr>
          <a:xfrm>
            <a:off x="-1546860" y="1019598"/>
            <a:ext cx="1272540" cy="7391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BFE75E0-C85F-4652-96A5-FEEFF864A29E}"/>
              </a:ext>
            </a:extLst>
          </p:cNvPr>
          <p:cNvSpPr/>
          <p:nvPr userDrawn="1"/>
        </p:nvSpPr>
        <p:spPr>
          <a:xfrm>
            <a:off x="-1546860" y="2039196"/>
            <a:ext cx="1272540" cy="7391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AE15589-DA89-4F26-9001-FF5818B1AF8B}"/>
              </a:ext>
            </a:extLst>
          </p:cNvPr>
          <p:cNvSpPr/>
          <p:nvPr userDrawn="1"/>
        </p:nvSpPr>
        <p:spPr>
          <a:xfrm>
            <a:off x="-1546860" y="3058794"/>
            <a:ext cx="1272540" cy="73914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317DF5A-3BAB-451D-BD55-90CA75E3D1CD}"/>
              </a:ext>
            </a:extLst>
          </p:cNvPr>
          <p:cNvSpPr/>
          <p:nvPr userDrawn="1"/>
        </p:nvSpPr>
        <p:spPr>
          <a:xfrm>
            <a:off x="-1546860" y="4078392"/>
            <a:ext cx="1272540" cy="7391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BEB80F-1D6E-4205-88F9-F54DF9997CD9}"/>
              </a:ext>
            </a:extLst>
          </p:cNvPr>
          <p:cNvSpPr/>
          <p:nvPr userDrawn="1"/>
        </p:nvSpPr>
        <p:spPr>
          <a:xfrm>
            <a:off x="-1546860" y="5097990"/>
            <a:ext cx="1272540" cy="73914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jdelijke aanduiding voor tekst 2">
            <a:extLst>
              <a:ext uri="{FF2B5EF4-FFF2-40B4-BE49-F238E27FC236}">
                <a16:creationId xmlns:a16="http://schemas.microsoft.com/office/drawing/2014/main" id="{3E30714C-A175-4EAF-9E54-793BB9572997}"/>
              </a:ext>
            </a:extLst>
          </p:cNvPr>
          <p:cNvSpPr txBox="1">
            <a:spLocks/>
          </p:cNvSpPr>
          <p:nvPr userDrawn="1"/>
        </p:nvSpPr>
        <p:spPr>
          <a:xfrm>
            <a:off x="7506546" y="6606269"/>
            <a:ext cx="3677920" cy="1865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kern="1200" cap="none" spc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>
                <a:effectLst/>
              </a:rPr>
              <a:t>STRICTLY CONFIDENTIAL |</a:t>
            </a:r>
            <a:endParaRPr lang="en-GB" sz="1000" b="1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1560582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8FAE6CF0-59BF-4226-AFBD-6839EAD6DA9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22BFDCC-3EE2-4AB7-99DB-57605C349F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14356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22BFDCC-3EE2-4AB7-99DB-57605C349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icture containing building, window, tower&#10;&#10;Description automatically generated">
            <a:extLst>
              <a:ext uri="{FF2B5EF4-FFF2-40B4-BE49-F238E27FC236}">
                <a16:creationId xmlns:a16="http://schemas.microsoft.com/office/drawing/2014/main" id="{4E1583CC-1E14-456A-B757-8AB63FDD52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-2110"/>
            <a:ext cx="6095999" cy="686011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7D999AC-F82F-4C96-AE95-B12D5EE93BFD}"/>
              </a:ext>
            </a:extLst>
          </p:cNvPr>
          <p:cNvSpPr/>
          <p:nvPr userDrawn="1"/>
        </p:nvSpPr>
        <p:spPr>
          <a:xfrm>
            <a:off x="0" y="0"/>
            <a:ext cx="6095999" cy="6859055"/>
          </a:xfrm>
          <a:prstGeom prst="rect">
            <a:avLst/>
          </a:prstGeom>
          <a:gradFill>
            <a:gsLst>
              <a:gs pos="34000">
                <a:srgbClr val="F7D379">
                  <a:alpha val="50000"/>
                </a:srgbClr>
              </a:gs>
              <a:gs pos="0">
                <a:srgbClr val="F7D379">
                  <a:alpha val="50000"/>
                  <a:lumMod val="80000"/>
                  <a:lumOff val="20000"/>
                </a:srgbClr>
              </a:gs>
              <a:gs pos="76000">
                <a:schemeClr val="accent2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pic>
        <p:nvPicPr>
          <p:cNvPr id="10" name="Afbeelding 6">
            <a:extLst>
              <a:ext uri="{FF2B5EF4-FFF2-40B4-BE49-F238E27FC236}">
                <a16:creationId xmlns:a16="http://schemas.microsoft.com/office/drawing/2014/main" id="{4C7EE670-59FE-4F5B-9B1E-D532DE0E717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9557" y="6249898"/>
            <a:ext cx="2062066" cy="540000"/>
          </a:xfrm>
          <a:prstGeom prst="rect">
            <a:avLst/>
          </a:prstGeom>
        </p:spPr>
      </p:pic>
      <p:sp>
        <p:nvSpPr>
          <p:cNvPr id="34" name="Content Placeholder 32">
            <a:extLst>
              <a:ext uri="{FF2B5EF4-FFF2-40B4-BE49-F238E27FC236}">
                <a16:creationId xmlns:a16="http://schemas.microsoft.com/office/drawing/2014/main" id="{26C5477B-7ABF-4BD9-83E8-0CC5AD431F1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8880" y="365126"/>
            <a:ext cx="5074920" cy="70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Title to come</a:t>
            </a:r>
          </a:p>
        </p:txBody>
      </p:sp>
      <p:sp>
        <p:nvSpPr>
          <p:cNvPr id="38" name="Content Placeholder 32">
            <a:extLst>
              <a:ext uri="{FF2B5EF4-FFF2-40B4-BE49-F238E27FC236}">
                <a16:creationId xmlns:a16="http://schemas.microsoft.com/office/drawing/2014/main" id="{6F0F0BA4-0067-44B6-A867-DF919672897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155180" y="1866901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0" name="Content Placeholder 32">
            <a:extLst>
              <a:ext uri="{FF2B5EF4-FFF2-40B4-BE49-F238E27FC236}">
                <a16:creationId xmlns:a16="http://schemas.microsoft.com/office/drawing/2014/main" id="{0B79743C-128B-4912-8EE6-D176E9B7C0D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155180" y="2959034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1" name="Content Placeholder 32">
            <a:extLst>
              <a:ext uri="{FF2B5EF4-FFF2-40B4-BE49-F238E27FC236}">
                <a16:creationId xmlns:a16="http://schemas.microsoft.com/office/drawing/2014/main" id="{3AE5EF70-0441-4E17-B388-85EFD2DD7D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155180" y="3977405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42" name="Content Placeholder 32">
            <a:extLst>
              <a:ext uri="{FF2B5EF4-FFF2-40B4-BE49-F238E27FC236}">
                <a16:creationId xmlns:a16="http://schemas.microsoft.com/office/drawing/2014/main" id="{5213D119-488F-4EDE-949C-AB979CB8F83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155180" y="5113250"/>
            <a:ext cx="4198620" cy="7694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accent3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Bold heade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up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sed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</a:t>
            </a:r>
          </a:p>
        </p:txBody>
      </p:sp>
      <p:sp>
        <p:nvSpPr>
          <p:cNvPr id="50" name="Content Placeholder 32">
            <a:extLst>
              <a:ext uri="{FF2B5EF4-FFF2-40B4-BE49-F238E27FC236}">
                <a16:creationId xmlns:a16="http://schemas.microsoft.com/office/drawing/2014/main" id="{4F222219-B49A-46EA-A36A-A5BC720640F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78880" y="1087422"/>
            <a:ext cx="5074920" cy="70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Key message to com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602D008-72D5-459C-889B-B2A02D4F12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5998" y="6491605"/>
            <a:ext cx="14105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3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3131893D-A0E0-4BEF-8FC1-EE1E60E7E04A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9FF513A-33AE-4F15-BECF-BA308A3E8D03}"/>
              </a:ext>
            </a:extLst>
          </p:cNvPr>
          <p:cNvSpPr/>
          <p:nvPr userDrawn="1"/>
        </p:nvSpPr>
        <p:spPr>
          <a:xfrm>
            <a:off x="-1546860" y="0"/>
            <a:ext cx="1272540" cy="7391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DE3373-42AE-4581-8968-74B623109F0D}"/>
              </a:ext>
            </a:extLst>
          </p:cNvPr>
          <p:cNvSpPr/>
          <p:nvPr userDrawn="1"/>
        </p:nvSpPr>
        <p:spPr>
          <a:xfrm>
            <a:off x="-1546860" y="1019598"/>
            <a:ext cx="1272540" cy="7391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BFE75E0-C85F-4652-96A5-FEEFF864A29E}"/>
              </a:ext>
            </a:extLst>
          </p:cNvPr>
          <p:cNvSpPr/>
          <p:nvPr userDrawn="1"/>
        </p:nvSpPr>
        <p:spPr>
          <a:xfrm>
            <a:off x="-1546860" y="2039196"/>
            <a:ext cx="1272540" cy="7391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AE15589-DA89-4F26-9001-FF5818B1AF8B}"/>
              </a:ext>
            </a:extLst>
          </p:cNvPr>
          <p:cNvSpPr/>
          <p:nvPr userDrawn="1"/>
        </p:nvSpPr>
        <p:spPr>
          <a:xfrm>
            <a:off x="-1546860" y="3058794"/>
            <a:ext cx="1272540" cy="73914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317DF5A-3BAB-451D-BD55-90CA75E3D1CD}"/>
              </a:ext>
            </a:extLst>
          </p:cNvPr>
          <p:cNvSpPr/>
          <p:nvPr userDrawn="1"/>
        </p:nvSpPr>
        <p:spPr>
          <a:xfrm>
            <a:off x="-1546860" y="4078392"/>
            <a:ext cx="1272540" cy="7391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BEB80F-1D6E-4205-88F9-F54DF9997CD9}"/>
              </a:ext>
            </a:extLst>
          </p:cNvPr>
          <p:cNvSpPr/>
          <p:nvPr userDrawn="1"/>
        </p:nvSpPr>
        <p:spPr>
          <a:xfrm>
            <a:off x="-1546860" y="5097990"/>
            <a:ext cx="1272540" cy="73914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jdelijke aanduiding voor tekst 2">
            <a:extLst>
              <a:ext uri="{FF2B5EF4-FFF2-40B4-BE49-F238E27FC236}">
                <a16:creationId xmlns:a16="http://schemas.microsoft.com/office/drawing/2014/main" id="{3E30714C-A175-4EAF-9E54-793BB9572997}"/>
              </a:ext>
            </a:extLst>
          </p:cNvPr>
          <p:cNvSpPr txBox="1">
            <a:spLocks/>
          </p:cNvSpPr>
          <p:nvPr userDrawn="1"/>
        </p:nvSpPr>
        <p:spPr>
          <a:xfrm>
            <a:off x="7506546" y="6606269"/>
            <a:ext cx="3677920" cy="1865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kern="1200" cap="none" spc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>
                <a:effectLst/>
              </a:rPr>
              <a:t>STRICTLY CONFIDENTIAL |</a:t>
            </a:r>
            <a:endParaRPr lang="en-GB" sz="1000" b="1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2741353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54289308-530A-464F-885D-BE150515F9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5C2E29-6714-43EA-93C0-09F2678687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7758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5C2E29-6714-43EA-93C0-09F2678687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Afbeelding 5">
            <a:extLst>
              <a:ext uri="{FF2B5EF4-FFF2-40B4-BE49-F238E27FC236}">
                <a16:creationId xmlns:a16="http://schemas.microsoft.com/office/drawing/2014/main" id="{7C9B71E6-DD17-4FB6-BAB1-97DCBB3E2E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5490" y="0"/>
            <a:ext cx="8436509" cy="685800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CE50575-7A71-489F-8F74-C5E93710AE09}"/>
              </a:ext>
            </a:extLst>
          </p:cNvPr>
          <p:cNvSpPr/>
          <p:nvPr userDrawn="1"/>
        </p:nvSpPr>
        <p:spPr>
          <a:xfrm>
            <a:off x="3755491" y="4731027"/>
            <a:ext cx="7505408" cy="2126973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">
            <a:extLst>
              <a:ext uri="{FF2B5EF4-FFF2-40B4-BE49-F238E27FC236}">
                <a16:creationId xmlns:a16="http://schemas.microsoft.com/office/drawing/2014/main" id="{531B08F3-96C9-4493-B324-2EABBD83824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095750" y="278288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altLang="en-NL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NL" altLang="en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NL" altLang="en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FBB51B16-5B55-4C61-8965-135B85330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1989" y="3754088"/>
            <a:ext cx="2057199" cy="1152000"/>
          </a:xfrm>
          <a:prstGeom prst="rect">
            <a:avLst/>
          </a:prstGeom>
        </p:spPr>
        <p:txBody>
          <a:bodyPr vert="horz" anchor="ctr"/>
          <a:lstStyle>
            <a:lvl1pPr>
              <a:defRPr sz="19900"/>
            </a:lvl1pPr>
          </a:lstStyle>
          <a:p>
            <a:r>
              <a:rPr lang="nl-NL"/>
              <a:t>X</a:t>
            </a:r>
          </a:p>
        </p:txBody>
      </p:sp>
      <p:sp>
        <p:nvSpPr>
          <p:cNvPr id="14" name="Content Placeholder 32">
            <a:extLst>
              <a:ext uri="{FF2B5EF4-FFF2-40B4-BE49-F238E27FC236}">
                <a16:creationId xmlns:a16="http://schemas.microsoft.com/office/drawing/2014/main" id="{BC113B30-4055-4326-A091-C224E3D69EF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925877" y="5601055"/>
            <a:ext cx="7335022" cy="6488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F5217D4-2FCC-413B-8C9C-A3CF355D2720}"/>
              </a:ext>
            </a:extLst>
          </p:cNvPr>
          <p:cNvSpPr/>
          <p:nvPr userDrawn="1"/>
        </p:nvSpPr>
        <p:spPr>
          <a:xfrm>
            <a:off x="-1546860" y="0"/>
            <a:ext cx="1272540" cy="7391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227CAEB-7A63-4D40-93F5-AC7CB4113229}"/>
              </a:ext>
            </a:extLst>
          </p:cNvPr>
          <p:cNvSpPr/>
          <p:nvPr userDrawn="1"/>
        </p:nvSpPr>
        <p:spPr>
          <a:xfrm>
            <a:off x="-1546860" y="1019598"/>
            <a:ext cx="1272540" cy="7391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C086D20-D7EA-4C53-881F-0361F1529D7E}"/>
              </a:ext>
            </a:extLst>
          </p:cNvPr>
          <p:cNvSpPr/>
          <p:nvPr userDrawn="1"/>
        </p:nvSpPr>
        <p:spPr>
          <a:xfrm>
            <a:off x="-1546860" y="2039196"/>
            <a:ext cx="1272540" cy="7391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19BE977-DCFC-44CD-9567-94D3851FD743}"/>
              </a:ext>
            </a:extLst>
          </p:cNvPr>
          <p:cNvSpPr/>
          <p:nvPr userDrawn="1"/>
        </p:nvSpPr>
        <p:spPr>
          <a:xfrm>
            <a:off x="-1546860" y="3058794"/>
            <a:ext cx="1272540" cy="73914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E1A6EF2-9615-41A5-A002-CFF1AA156724}"/>
              </a:ext>
            </a:extLst>
          </p:cNvPr>
          <p:cNvSpPr/>
          <p:nvPr userDrawn="1"/>
        </p:nvSpPr>
        <p:spPr>
          <a:xfrm>
            <a:off x="-1546860" y="4078392"/>
            <a:ext cx="1272540" cy="7391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84B84C9-9EF0-47F5-A616-ACF3A94A22C0}"/>
              </a:ext>
            </a:extLst>
          </p:cNvPr>
          <p:cNvSpPr/>
          <p:nvPr userDrawn="1"/>
        </p:nvSpPr>
        <p:spPr>
          <a:xfrm>
            <a:off x="-1546860" y="5097990"/>
            <a:ext cx="1272540" cy="73914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60B52EF-3570-481C-BEDC-77977C2EC894}"/>
              </a:ext>
            </a:extLst>
          </p:cNvPr>
          <p:cNvSpPr/>
          <p:nvPr userDrawn="1"/>
        </p:nvSpPr>
        <p:spPr>
          <a:xfrm>
            <a:off x="3755491" y="1815"/>
            <a:ext cx="7505408" cy="2126973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Content Placeholder 32">
            <a:extLst>
              <a:ext uri="{FF2B5EF4-FFF2-40B4-BE49-F238E27FC236}">
                <a16:creationId xmlns:a16="http://schemas.microsoft.com/office/drawing/2014/main" id="{69F298B6-F212-4667-83FD-CAB21B1752D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925877" y="174662"/>
            <a:ext cx="7335022" cy="178234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40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386163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42067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10D8324A-4697-4447-9B55-88827F1A8A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933" cy="12700"/>
          </a:xfrm>
          <a:prstGeom prst="octagon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200" err="1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195F268-5B60-47B0-BC4B-9B45E8D74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1810024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" name="think-cell Slide" r:id="rId6" imgW="294" imgH="294" progId="TCLayout.ActiveDocument.1">
                  <p:embed/>
                </p:oleObj>
              </mc:Choice>
              <mc:Fallback>
                <p:oleObj name="think-cell Slide" r:id="rId6" imgW="294" imgH="2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195F268-5B60-47B0-BC4B-9B45E8D74A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B7D0C6-3BFF-4C0C-B104-8D517E1B6A2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l-NL" sz="2000" b="0" i="0" baseline="0" err="1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Master </a:t>
            </a:r>
            <a:r>
              <a:rPr lang="nl-NL" err="1"/>
              <a:t>title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131893D-A0E0-4BEF-8FC1-EE1E60E7E04A}" type="slidenum">
              <a:rPr lang="nl-NL" smtClean="0"/>
              <a:t>‹#›</a:t>
            </a:fld>
            <a:endParaRPr lang="nl-N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53203" y="2053167"/>
            <a:ext cx="5284800" cy="415713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4"/>
              </a:spcBef>
              <a:buFontTx/>
              <a:buNone/>
              <a:defRPr sz="1000" b="1">
                <a:solidFill>
                  <a:srgbClr val="2A3651"/>
                </a:solidFill>
              </a:defRPr>
            </a:lvl1pPr>
            <a:lvl2pPr>
              <a:lnSpc>
                <a:spcPct val="100000"/>
              </a:lnSpc>
              <a:buClr>
                <a:srgbClr val="2A3651"/>
              </a:buClr>
              <a:defRPr sz="1000">
                <a:solidFill>
                  <a:srgbClr val="2A3651"/>
                </a:solidFill>
              </a:defRPr>
            </a:lvl2pPr>
            <a:lvl3pPr>
              <a:lnSpc>
                <a:spcPct val="100000"/>
              </a:lnSpc>
              <a:buClr>
                <a:srgbClr val="2A3651"/>
              </a:buClr>
              <a:defRPr sz="1000">
                <a:solidFill>
                  <a:srgbClr val="2A3651"/>
                </a:solidFill>
              </a:defRPr>
            </a:lvl3pPr>
          </a:lstStyle>
          <a:p>
            <a:pPr lvl="0"/>
            <a:r>
              <a:rPr lang="nl-NL" err="1"/>
              <a:t>Edit</a:t>
            </a:r>
            <a:r>
              <a:rPr lang="nl-NL"/>
              <a:t> Master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s</a:t>
            </a:r>
            <a:endParaRPr lang="nl-NL"/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 err="1"/>
              <a:t>Third</a:t>
            </a:r>
            <a:r>
              <a:rPr lang="nl-NL"/>
              <a:t>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069000" y="2053167"/>
            <a:ext cx="5284800" cy="415713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1000" dirty="0"/>
            </a:lvl1pPr>
            <a:lvl2pPr marL="266700" indent="-266700">
              <a:buClr>
                <a:srgbClr val="2A3651"/>
              </a:buClr>
              <a:defRPr lang="en-US" sz="1000" b="0" i="0" kern="1200" dirty="0">
                <a:solidFill>
                  <a:srgbClr val="2A365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438150" indent="-171450">
              <a:buClr>
                <a:srgbClr val="2A3651"/>
              </a:buClr>
              <a:defRPr lang="en-US" sz="1000" kern="1200" dirty="0">
                <a:solidFill>
                  <a:srgbClr val="2A365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</a:lstStyle>
          <a:p>
            <a:pPr lvl="0">
              <a:spcBef>
                <a:spcPts val="24"/>
              </a:spcBef>
              <a:buFontTx/>
            </a:pPr>
            <a:r>
              <a:rPr lang="nl-NL" err="1"/>
              <a:t>Edit</a:t>
            </a:r>
            <a:r>
              <a:rPr lang="nl-NL"/>
              <a:t> Master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s</a:t>
            </a:r>
            <a:endParaRPr lang="nl-NL"/>
          </a:p>
          <a:p>
            <a:pPr lvl="1">
              <a:spcBef>
                <a:spcPts val="24"/>
              </a:spcBef>
              <a:buFontTx/>
            </a:pPr>
            <a:r>
              <a:rPr lang="nl-NL"/>
              <a:t>Second level</a:t>
            </a:r>
          </a:p>
          <a:p>
            <a:pPr lvl="2">
              <a:spcBef>
                <a:spcPts val="24"/>
              </a:spcBef>
              <a:buFontTx/>
            </a:pPr>
            <a:r>
              <a:rPr lang="nl-NL" err="1"/>
              <a:t>Third</a:t>
            </a:r>
            <a:r>
              <a:rPr lang="nl-NL"/>
              <a:t>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53203" y="1585554"/>
            <a:ext cx="5284800" cy="369332"/>
          </a:xfr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12700" dir="5400000" sx="99000" sy="99000" algn="ctr" rotWithShape="0">
              <a:srgbClr val="2A3651"/>
            </a:outerShdw>
          </a:effectLst>
        </p:spPr>
        <p:txBody>
          <a:bodyPr vert="horz" lIns="91440" tIns="91440" rIns="91440" bIns="91440" rtlCol="0" anchor="b">
            <a:spAutoFit/>
          </a:bodyPr>
          <a:lstStyle>
            <a:lvl1pPr>
              <a:defRPr lang="en-US" sz="1200" dirty="0"/>
            </a:lvl1pPr>
          </a:lstStyle>
          <a:p>
            <a:pPr lvl="0"/>
            <a:r>
              <a:rPr lang="nl-NL" err="1"/>
              <a:t>Edit</a:t>
            </a:r>
            <a:r>
              <a:rPr lang="nl-NL"/>
              <a:t> Master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s</a:t>
            </a:r>
            <a:endParaRPr lang="nl-NL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069000" y="1585554"/>
            <a:ext cx="5284800" cy="369332"/>
          </a:xfr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12700" dir="5400000" sx="99000" sy="99000" algn="ctr" rotWithShape="0">
              <a:srgbClr val="2A3651"/>
            </a:outerShdw>
          </a:effectLst>
        </p:spPr>
        <p:txBody>
          <a:bodyPr vert="horz" lIns="91440" tIns="91440" rIns="91440" bIns="91440" rtlCol="0" anchor="b">
            <a:spAutoFit/>
          </a:bodyPr>
          <a:lstStyle>
            <a:lvl1pPr>
              <a:defRPr lang="en-US" sz="1200" dirty="0"/>
            </a:lvl1pPr>
          </a:lstStyle>
          <a:p>
            <a:pPr lvl="0"/>
            <a:r>
              <a:rPr lang="nl-NL" err="1"/>
              <a:t>Edit</a:t>
            </a:r>
            <a:r>
              <a:rPr lang="nl-NL"/>
              <a:t> Master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s</a:t>
            </a:r>
            <a:endParaRPr lang="nl-NL"/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 rot="16200000">
            <a:off x="-2012671" y="3611091"/>
            <a:ext cx="4686416" cy="486833"/>
          </a:xfrm>
        </p:spPr>
        <p:txBody>
          <a:bodyPr vert="horz" lIns="91440" tIns="45720" rIns="91440" bIns="45720" rtlCol="0" anchor="ctr"/>
          <a:lstStyle>
            <a:lvl1pPr>
              <a:defRPr lang="en-US" dirty="0"/>
            </a:lvl1pPr>
          </a:lstStyle>
          <a:p>
            <a:endParaRPr lang="nl-NL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24418" y="801689"/>
            <a:ext cx="10729383" cy="307777"/>
          </a:xfrm>
        </p:spPr>
        <p:txBody>
          <a:bodyPr>
            <a:spAutoFit/>
          </a:bodyPr>
          <a:lstStyle>
            <a:lvl1pPr>
              <a:defRPr sz="1400" b="0" i="1"/>
            </a:lvl1pPr>
          </a:lstStyle>
          <a:p>
            <a:pPr lvl="0"/>
            <a:r>
              <a:rPr lang="nl-NL" err="1"/>
              <a:t>Edit</a:t>
            </a:r>
            <a:r>
              <a:rPr lang="nl-NL"/>
              <a:t> Master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s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757542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ront cover_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39C21231-728D-4074-BD84-ECA5BB08CE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B7DB2AA-4B25-460A-93EF-086B75A892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-1055"/>
            <a:ext cx="9144000" cy="1986609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5000" cap="all" baseline="0">
                <a:solidFill>
                  <a:schemeClr val="accent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9EEFF9B3-5DFE-40A8-961A-FA74F22944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985554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6622093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Do not remove" hidden="1">
            <a:extLst>
              <a:ext uri="{FF2B5EF4-FFF2-40B4-BE49-F238E27FC236}">
                <a16:creationId xmlns:a16="http://schemas.microsoft.com/office/drawing/2014/main" id="{0BE66AA1-0B87-472D-88F2-D8D867BAD1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5C2E29-6714-43EA-93C0-09F2678687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51739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5C2E29-6714-43EA-93C0-09F2678687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Afbeelding 5">
            <a:extLst>
              <a:ext uri="{FF2B5EF4-FFF2-40B4-BE49-F238E27FC236}">
                <a16:creationId xmlns:a16="http://schemas.microsoft.com/office/drawing/2014/main" id="{204766B4-24F1-42D2-8E36-A4E2EC6D5B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5491" y="0"/>
            <a:ext cx="8436509" cy="685800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CE50575-7A71-489F-8F74-C5E93710AE09}"/>
              </a:ext>
            </a:extLst>
          </p:cNvPr>
          <p:cNvSpPr/>
          <p:nvPr userDrawn="1"/>
        </p:nvSpPr>
        <p:spPr>
          <a:xfrm>
            <a:off x="654248" y="2423160"/>
            <a:ext cx="5441752" cy="443484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">
            <a:extLst>
              <a:ext uri="{FF2B5EF4-FFF2-40B4-BE49-F238E27FC236}">
                <a16:creationId xmlns:a16="http://schemas.microsoft.com/office/drawing/2014/main" id="{531B08F3-96C9-4493-B324-2EABBD83824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095750" y="278288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altLang="en-NL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NL" altLang="en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NL" altLang="en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7" name="Afbeelding 6">
            <a:extLst>
              <a:ext uri="{FF2B5EF4-FFF2-40B4-BE49-F238E27FC236}">
                <a16:creationId xmlns:a16="http://schemas.microsoft.com/office/drawing/2014/main" id="{4256EB14-AC37-4A15-9E7D-2802EAD81F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83337" y="6249898"/>
            <a:ext cx="2062066" cy="540000"/>
          </a:xfrm>
          <a:prstGeom prst="rect">
            <a:avLst/>
          </a:prstGeom>
        </p:spPr>
      </p:pic>
      <p:sp>
        <p:nvSpPr>
          <p:cNvPr id="29" name="Titel 1">
            <a:extLst>
              <a:ext uri="{FF2B5EF4-FFF2-40B4-BE49-F238E27FC236}">
                <a16:creationId xmlns:a16="http://schemas.microsoft.com/office/drawing/2014/main" id="{FBB51B16-5B55-4C61-8965-135B85330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5373" y="1630494"/>
            <a:ext cx="3999744" cy="1152000"/>
          </a:xfrm>
          <a:prstGeom prst="rect">
            <a:avLst/>
          </a:prstGeom>
        </p:spPr>
        <p:txBody>
          <a:bodyPr vert="horz" anchor="ctr"/>
          <a:lstStyle>
            <a:lvl1pPr>
              <a:defRPr/>
            </a:lvl1pPr>
          </a:lstStyle>
          <a:p>
            <a:r>
              <a:rPr lang="nl-NL"/>
              <a:t>Contents</a:t>
            </a:r>
          </a:p>
        </p:txBody>
      </p:sp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ECE19E11-F6AE-45A5-B432-F04CDE15A800}"/>
              </a:ext>
            </a:extLst>
          </p:cNvPr>
          <p:cNvSpPr txBox="1">
            <a:spLocks/>
          </p:cNvSpPr>
          <p:nvPr userDrawn="1"/>
        </p:nvSpPr>
        <p:spPr>
          <a:xfrm>
            <a:off x="838200" y="6606269"/>
            <a:ext cx="3677920" cy="1865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kern="1200" cap="none" spc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>
                <a:effectLst/>
              </a:rPr>
              <a:t>STRICTLY CONFIDENTIAL </a:t>
            </a:r>
            <a:endParaRPr lang="en-GB" sz="1000" b="1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4102245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D9197B16-D382-4F8A-A655-137C70FAF8D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AF0A551-91DE-4EF1-80B6-31E08BF4E2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74715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AF0A551-91DE-4EF1-80B6-31E08BF4E2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78B26B-85C9-444F-9F7B-F4515FBF45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 vert="horz">
            <a:normAutofit/>
          </a:bodyPr>
          <a:lstStyle>
            <a:lvl1pPr algn="ctr">
              <a:defRPr sz="7200"/>
            </a:lvl1pPr>
          </a:lstStyle>
          <a:p>
            <a:r>
              <a:rPr lang="nl-NL" err="1"/>
              <a:t>Dividers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118981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DABC504A-7BE1-4137-B14B-0D89D0279A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5C2E29-6714-43EA-93C0-09F2678687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77038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5C2E29-6714-43EA-93C0-09F2678687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Afbeelding 5">
            <a:extLst>
              <a:ext uri="{FF2B5EF4-FFF2-40B4-BE49-F238E27FC236}">
                <a16:creationId xmlns:a16="http://schemas.microsoft.com/office/drawing/2014/main" id="{204766B4-24F1-42D2-8E36-A4E2EC6D5B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5491" y="0"/>
            <a:ext cx="8436509" cy="685800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CE50575-7A71-489F-8F74-C5E93710AE09}"/>
              </a:ext>
            </a:extLst>
          </p:cNvPr>
          <p:cNvSpPr/>
          <p:nvPr userDrawn="1"/>
        </p:nvSpPr>
        <p:spPr>
          <a:xfrm>
            <a:off x="3755491" y="4906088"/>
            <a:ext cx="7505408" cy="195190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">
            <a:extLst>
              <a:ext uri="{FF2B5EF4-FFF2-40B4-BE49-F238E27FC236}">
                <a16:creationId xmlns:a16="http://schemas.microsoft.com/office/drawing/2014/main" id="{531B08F3-96C9-4493-B324-2EABBD83824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095750" y="278288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altLang="en-NL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NL" altLang="en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NL" altLang="en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FBB51B16-5B55-4C61-8965-135B85330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1989" y="3754088"/>
            <a:ext cx="2057199" cy="1152000"/>
          </a:xfrm>
          <a:prstGeom prst="rect">
            <a:avLst/>
          </a:prstGeom>
        </p:spPr>
        <p:txBody>
          <a:bodyPr vert="horz" anchor="ctr"/>
          <a:lstStyle>
            <a:lvl1pPr>
              <a:defRPr sz="19900"/>
            </a:lvl1pPr>
          </a:lstStyle>
          <a:p>
            <a:r>
              <a:rPr lang="nl-NL"/>
              <a:t>X</a:t>
            </a:r>
          </a:p>
        </p:txBody>
      </p:sp>
      <p:pic>
        <p:nvPicPr>
          <p:cNvPr id="11" name="Afbeelding 6">
            <a:extLst>
              <a:ext uri="{FF2B5EF4-FFF2-40B4-BE49-F238E27FC236}">
                <a16:creationId xmlns:a16="http://schemas.microsoft.com/office/drawing/2014/main" id="{2F04C438-3CA6-4AEF-996E-EAB2F7026D9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9560" y="6249898"/>
            <a:ext cx="2062063" cy="540000"/>
          </a:xfrm>
          <a:prstGeom prst="rect">
            <a:avLst/>
          </a:prstGeom>
        </p:spPr>
      </p:pic>
      <p:sp>
        <p:nvSpPr>
          <p:cNvPr id="15" name="Content Placeholder 32">
            <a:extLst>
              <a:ext uri="{FF2B5EF4-FFF2-40B4-BE49-F238E27FC236}">
                <a16:creationId xmlns:a16="http://schemas.microsoft.com/office/drawing/2014/main" id="{467B7DB6-C154-490D-811A-464149E05F9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925877" y="5601055"/>
            <a:ext cx="7335022" cy="6488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AE59B8E-6810-4477-889A-564A40117B90}"/>
              </a:ext>
            </a:extLst>
          </p:cNvPr>
          <p:cNvSpPr/>
          <p:nvPr userDrawn="1"/>
        </p:nvSpPr>
        <p:spPr>
          <a:xfrm>
            <a:off x="-1546860" y="0"/>
            <a:ext cx="1272540" cy="7391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11C4272-D48A-4EDF-BAAE-400F51A58DFC}"/>
              </a:ext>
            </a:extLst>
          </p:cNvPr>
          <p:cNvSpPr/>
          <p:nvPr userDrawn="1"/>
        </p:nvSpPr>
        <p:spPr>
          <a:xfrm>
            <a:off x="-1546860" y="1019598"/>
            <a:ext cx="1272540" cy="7391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123C02-F250-4AD5-8AA2-7BF703B68140}"/>
              </a:ext>
            </a:extLst>
          </p:cNvPr>
          <p:cNvSpPr/>
          <p:nvPr userDrawn="1"/>
        </p:nvSpPr>
        <p:spPr>
          <a:xfrm>
            <a:off x="-1546860" y="2039196"/>
            <a:ext cx="1272540" cy="7391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95EAC18-90F5-4F9B-87D0-6A9F871BA0F5}"/>
              </a:ext>
            </a:extLst>
          </p:cNvPr>
          <p:cNvSpPr/>
          <p:nvPr userDrawn="1"/>
        </p:nvSpPr>
        <p:spPr>
          <a:xfrm>
            <a:off x="-1546860" y="3058794"/>
            <a:ext cx="1272540" cy="73914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2858B42-4140-46E0-9EB7-C477D4BB76EC}"/>
              </a:ext>
            </a:extLst>
          </p:cNvPr>
          <p:cNvSpPr/>
          <p:nvPr userDrawn="1"/>
        </p:nvSpPr>
        <p:spPr>
          <a:xfrm>
            <a:off x="-1546860" y="4078392"/>
            <a:ext cx="1272540" cy="7391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0001263-67A4-4E09-A497-B3A8B8BB3ED3}"/>
              </a:ext>
            </a:extLst>
          </p:cNvPr>
          <p:cNvSpPr/>
          <p:nvPr userDrawn="1"/>
        </p:nvSpPr>
        <p:spPr>
          <a:xfrm>
            <a:off x="-1546860" y="5097990"/>
            <a:ext cx="1272540" cy="73914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2574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54289308-530A-464F-885D-BE150515F9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5C2E29-6714-43EA-93C0-09F2678687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65226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5C2E29-6714-43EA-93C0-09F2678687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Afbeelding 5">
            <a:extLst>
              <a:ext uri="{FF2B5EF4-FFF2-40B4-BE49-F238E27FC236}">
                <a16:creationId xmlns:a16="http://schemas.microsoft.com/office/drawing/2014/main" id="{7C9B71E6-DD17-4FB6-BAB1-97DCBB3E2E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5490" y="0"/>
            <a:ext cx="8436509" cy="685800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CE50575-7A71-489F-8F74-C5E93710AE09}"/>
              </a:ext>
            </a:extLst>
          </p:cNvPr>
          <p:cNvSpPr/>
          <p:nvPr userDrawn="1"/>
        </p:nvSpPr>
        <p:spPr>
          <a:xfrm>
            <a:off x="3755491" y="4731027"/>
            <a:ext cx="7505408" cy="2126973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">
            <a:extLst>
              <a:ext uri="{FF2B5EF4-FFF2-40B4-BE49-F238E27FC236}">
                <a16:creationId xmlns:a16="http://schemas.microsoft.com/office/drawing/2014/main" id="{531B08F3-96C9-4493-B324-2EABBD83824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095750" y="278288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altLang="en-NL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NL" altLang="en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NL" altLang="en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FBB51B16-5B55-4C61-8965-135B85330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1989" y="3754088"/>
            <a:ext cx="2057199" cy="1152000"/>
          </a:xfrm>
          <a:prstGeom prst="rect">
            <a:avLst/>
          </a:prstGeom>
        </p:spPr>
        <p:txBody>
          <a:bodyPr vert="horz" anchor="ctr"/>
          <a:lstStyle>
            <a:lvl1pPr>
              <a:defRPr sz="19900"/>
            </a:lvl1pPr>
          </a:lstStyle>
          <a:p>
            <a:r>
              <a:rPr lang="nl-NL"/>
              <a:t>X</a:t>
            </a:r>
          </a:p>
        </p:txBody>
      </p:sp>
      <p:sp>
        <p:nvSpPr>
          <p:cNvPr id="14" name="Content Placeholder 32">
            <a:extLst>
              <a:ext uri="{FF2B5EF4-FFF2-40B4-BE49-F238E27FC236}">
                <a16:creationId xmlns:a16="http://schemas.microsoft.com/office/drawing/2014/main" id="{BC113B30-4055-4326-A091-C224E3D69EF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925877" y="5601055"/>
            <a:ext cx="7335022" cy="6488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F5217D4-2FCC-413B-8C9C-A3CF355D2720}"/>
              </a:ext>
            </a:extLst>
          </p:cNvPr>
          <p:cNvSpPr/>
          <p:nvPr userDrawn="1"/>
        </p:nvSpPr>
        <p:spPr>
          <a:xfrm>
            <a:off x="-1546860" y="0"/>
            <a:ext cx="1272540" cy="7391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227CAEB-7A63-4D40-93F5-AC7CB4113229}"/>
              </a:ext>
            </a:extLst>
          </p:cNvPr>
          <p:cNvSpPr/>
          <p:nvPr userDrawn="1"/>
        </p:nvSpPr>
        <p:spPr>
          <a:xfrm>
            <a:off x="-1546860" y="1019598"/>
            <a:ext cx="1272540" cy="7391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C086D20-D7EA-4C53-881F-0361F1529D7E}"/>
              </a:ext>
            </a:extLst>
          </p:cNvPr>
          <p:cNvSpPr/>
          <p:nvPr userDrawn="1"/>
        </p:nvSpPr>
        <p:spPr>
          <a:xfrm>
            <a:off x="-1546860" y="2039196"/>
            <a:ext cx="1272540" cy="7391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19BE977-DCFC-44CD-9567-94D3851FD743}"/>
              </a:ext>
            </a:extLst>
          </p:cNvPr>
          <p:cNvSpPr/>
          <p:nvPr userDrawn="1"/>
        </p:nvSpPr>
        <p:spPr>
          <a:xfrm>
            <a:off x="-1546860" y="3058794"/>
            <a:ext cx="1272540" cy="73914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E1A6EF2-9615-41A5-A002-CFF1AA156724}"/>
              </a:ext>
            </a:extLst>
          </p:cNvPr>
          <p:cNvSpPr/>
          <p:nvPr userDrawn="1"/>
        </p:nvSpPr>
        <p:spPr>
          <a:xfrm>
            <a:off x="-1546860" y="4078392"/>
            <a:ext cx="1272540" cy="7391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84B84C9-9EF0-47F5-A616-ACF3A94A22C0}"/>
              </a:ext>
            </a:extLst>
          </p:cNvPr>
          <p:cNvSpPr/>
          <p:nvPr userDrawn="1"/>
        </p:nvSpPr>
        <p:spPr>
          <a:xfrm>
            <a:off x="-1546860" y="5097990"/>
            <a:ext cx="1272540" cy="73914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Afbeelding 6">
            <a:extLst>
              <a:ext uri="{FF2B5EF4-FFF2-40B4-BE49-F238E27FC236}">
                <a16:creationId xmlns:a16="http://schemas.microsoft.com/office/drawing/2014/main" id="{9EBD3D99-2D41-4125-82CA-2CE7D81AB31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9560" y="6249898"/>
            <a:ext cx="2062063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746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89EB36C5-165D-44EF-A791-7FFFAFA55F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5C2E29-6714-43EA-93C0-09F2678687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38278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5C2E29-6714-43EA-93C0-09F2678687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Afbeelding 5">
            <a:extLst>
              <a:ext uri="{FF2B5EF4-FFF2-40B4-BE49-F238E27FC236}">
                <a16:creationId xmlns:a16="http://schemas.microsoft.com/office/drawing/2014/main" id="{64541235-E6B3-4D0E-8869-B211A460E3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5489" y="0"/>
            <a:ext cx="8436510" cy="685800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CE50575-7A71-489F-8F74-C5E93710AE09}"/>
              </a:ext>
            </a:extLst>
          </p:cNvPr>
          <p:cNvSpPr/>
          <p:nvPr userDrawn="1"/>
        </p:nvSpPr>
        <p:spPr>
          <a:xfrm>
            <a:off x="3755491" y="4906088"/>
            <a:ext cx="7505408" cy="1951912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">
            <a:extLst>
              <a:ext uri="{FF2B5EF4-FFF2-40B4-BE49-F238E27FC236}">
                <a16:creationId xmlns:a16="http://schemas.microsoft.com/office/drawing/2014/main" id="{531B08F3-96C9-4493-B324-2EABBD83824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095750" y="278288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altLang="en-NL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NL" altLang="en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NL" altLang="en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FBB51B16-5B55-4C61-8965-135B85330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1989" y="3754088"/>
            <a:ext cx="2057199" cy="1152000"/>
          </a:xfrm>
          <a:prstGeom prst="rect">
            <a:avLst/>
          </a:prstGeom>
        </p:spPr>
        <p:txBody>
          <a:bodyPr vert="horz" anchor="ctr"/>
          <a:lstStyle>
            <a:lvl1pPr>
              <a:defRPr sz="19900"/>
            </a:lvl1pPr>
          </a:lstStyle>
          <a:p>
            <a:r>
              <a:rPr lang="nl-NL"/>
              <a:t>X</a:t>
            </a:r>
          </a:p>
        </p:txBody>
      </p:sp>
      <p:pic>
        <p:nvPicPr>
          <p:cNvPr id="11" name="Afbeelding 6">
            <a:extLst>
              <a:ext uri="{FF2B5EF4-FFF2-40B4-BE49-F238E27FC236}">
                <a16:creationId xmlns:a16="http://schemas.microsoft.com/office/drawing/2014/main" id="{2F04C438-3CA6-4AEF-996E-EAB2F7026D9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9560" y="6249898"/>
            <a:ext cx="2062063" cy="540000"/>
          </a:xfrm>
          <a:prstGeom prst="rect">
            <a:avLst/>
          </a:prstGeom>
        </p:spPr>
      </p:pic>
      <p:sp>
        <p:nvSpPr>
          <p:cNvPr id="17" name="Content Placeholder 32">
            <a:extLst>
              <a:ext uri="{FF2B5EF4-FFF2-40B4-BE49-F238E27FC236}">
                <a16:creationId xmlns:a16="http://schemas.microsoft.com/office/drawing/2014/main" id="{0015D2D2-1C26-43B8-B0E0-3547BF5197A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925877" y="5601055"/>
            <a:ext cx="7335022" cy="6488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3B3F861-1F2F-4AE9-92A6-6F56207189A4}"/>
              </a:ext>
            </a:extLst>
          </p:cNvPr>
          <p:cNvSpPr/>
          <p:nvPr userDrawn="1"/>
        </p:nvSpPr>
        <p:spPr>
          <a:xfrm>
            <a:off x="-1546860" y="0"/>
            <a:ext cx="1272540" cy="7391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B6D5117-E662-4FE0-BD6C-C70A5C0AF3CE}"/>
              </a:ext>
            </a:extLst>
          </p:cNvPr>
          <p:cNvSpPr/>
          <p:nvPr userDrawn="1"/>
        </p:nvSpPr>
        <p:spPr>
          <a:xfrm>
            <a:off x="-1546860" y="1019598"/>
            <a:ext cx="1272540" cy="7391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01D0B38-4518-4407-BC1B-008CEFF37D2F}"/>
              </a:ext>
            </a:extLst>
          </p:cNvPr>
          <p:cNvSpPr/>
          <p:nvPr userDrawn="1"/>
        </p:nvSpPr>
        <p:spPr>
          <a:xfrm>
            <a:off x="-1546860" y="2039196"/>
            <a:ext cx="1272540" cy="7391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F896951-0063-4293-83F4-0A5BA5BE817E}"/>
              </a:ext>
            </a:extLst>
          </p:cNvPr>
          <p:cNvSpPr/>
          <p:nvPr userDrawn="1"/>
        </p:nvSpPr>
        <p:spPr>
          <a:xfrm>
            <a:off x="-1546860" y="3058794"/>
            <a:ext cx="1272540" cy="73914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73D2B2C-7E13-4CF7-8D74-ABE9C04D2844}"/>
              </a:ext>
            </a:extLst>
          </p:cNvPr>
          <p:cNvSpPr/>
          <p:nvPr userDrawn="1"/>
        </p:nvSpPr>
        <p:spPr>
          <a:xfrm>
            <a:off x="-1546860" y="4078392"/>
            <a:ext cx="1272540" cy="7391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004F1C0-77DC-4C06-9A85-F55A49F9FAE2}"/>
              </a:ext>
            </a:extLst>
          </p:cNvPr>
          <p:cNvSpPr/>
          <p:nvPr userDrawn="1"/>
        </p:nvSpPr>
        <p:spPr>
          <a:xfrm>
            <a:off x="-1546860" y="5097990"/>
            <a:ext cx="1272540" cy="73914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1442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AF0A551-91DE-4EF1-80B6-31E08BF4E2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163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AF0A551-91DE-4EF1-80B6-31E08BF4E2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78B26B-85C9-444F-9F7B-F4515FBF45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 vert="horz">
            <a:normAutofit/>
          </a:bodyPr>
          <a:lstStyle>
            <a:lvl1pPr algn="ctr">
              <a:defRPr sz="7200"/>
            </a:lvl1pPr>
          </a:lstStyle>
          <a:p>
            <a:r>
              <a:rPr lang="nl-NL"/>
              <a:t>Standard LAYOU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AA258E-5D83-45B1-8DB0-BA22DEC5A2A1}"/>
              </a:ext>
            </a:extLst>
          </p:cNvPr>
          <p:cNvSpPr/>
          <p:nvPr userDrawn="1"/>
        </p:nvSpPr>
        <p:spPr>
          <a:xfrm>
            <a:off x="-1546860" y="0"/>
            <a:ext cx="1272540" cy="7391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D0C9DAD-2742-4372-93E8-7E32E2E55E95}"/>
              </a:ext>
            </a:extLst>
          </p:cNvPr>
          <p:cNvSpPr/>
          <p:nvPr userDrawn="1"/>
        </p:nvSpPr>
        <p:spPr>
          <a:xfrm>
            <a:off x="-1546860" y="1019598"/>
            <a:ext cx="1272540" cy="7391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346F461-78C5-4192-BE1A-4FDD8BCAEFDA}"/>
              </a:ext>
            </a:extLst>
          </p:cNvPr>
          <p:cNvSpPr/>
          <p:nvPr userDrawn="1"/>
        </p:nvSpPr>
        <p:spPr>
          <a:xfrm>
            <a:off x="-1546860" y="2039196"/>
            <a:ext cx="1272540" cy="7391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291FFA5-DA3F-4EDC-A2B0-9052A1376D84}"/>
              </a:ext>
            </a:extLst>
          </p:cNvPr>
          <p:cNvSpPr/>
          <p:nvPr userDrawn="1"/>
        </p:nvSpPr>
        <p:spPr>
          <a:xfrm>
            <a:off x="-1546860" y="3058794"/>
            <a:ext cx="1272540" cy="73914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699E5CB-6BC0-4003-84D9-EB4A0D1456CE}"/>
              </a:ext>
            </a:extLst>
          </p:cNvPr>
          <p:cNvSpPr/>
          <p:nvPr userDrawn="1"/>
        </p:nvSpPr>
        <p:spPr>
          <a:xfrm>
            <a:off x="-1546860" y="4078392"/>
            <a:ext cx="1272540" cy="7391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9B5DCBF-5C74-4CE7-A6B3-08B7154D22E7}"/>
              </a:ext>
            </a:extLst>
          </p:cNvPr>
          <p:cNvSpPr/>
          <p:nvPr userDrawn="1"/>
        </p:nvSpPr>
        <p:spPr>
          <a:xfrm>
            <a:off x="-1546860" y="5097990"/>
            <a:ext cx="1272540" cy="73914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8214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5135F9C-A48E-4AFC-8262-ACA99135DF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352819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30" imgW="395" imgH="396" progId="TCLayout.ActiveDocument.1">
                  <p:embed/>
                </p:oleObj>
              </mc:Choice>
              <mc:Fallback>
                <p:oleObj name="think-cell Slide" r:id="rId30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5135F9C-A48E-4AFC-8262-ACA99135DF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Afbeelding 5">
            <a:extLst>
              <a:ext uri="{FF2B5EF4-FFF2-40B4-BE49-F238E27FC236}">
                <a16:creationId xmlns:a16="http://schemas.microsoft.com/office/drawing/2014/main" id="{DE52DD1E-C1C6-4924-80C5-C778F3C0F5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43600"/>
            <a:ext cx="12192000" cy="913130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A466F438-A6E0-44E4-8F9C-FEDCFA37EA8F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83338" y="6249898"/>
            <a:ext cx="2062063" cy="540000"/>
          </a:xfrm>
          <a:prstGeom prst="rect">
            <a:avLst/>
          </a:prstGeom>
        </p:spPr>
      </p:pic>
      <p:sp>
        <p:nvSpPr>
          <p:cNvPr id="9" name="Tijdelijke aanduiding voor tekst 2">
            <a:extLst>
              <a:ext uri="{FF2B5EF4-FFF2-40B4-BE49-F238E27FC236}">
                <a16:creationId xmlns:a16="http://schemas.microsoft.com/office/drawing/2014/main" id="{240F43F8-9BA1-4078-A3F5-5FA52F7BB403}"/>
              </a:ext>
            </a:extLst>
          </p:cNvPr>
          <p:cNvSpPr txBox="1">
            <a:spLocks/>
          </p:cNvSpPr>
          <p:nvPr userDrawn="1"/>
        </p:nvSpPr>
        <p:spPr>
          <a:xfrm>
            <a:off x="838200" y="6606269"/>
            <a:ext cx="3677920" cy="1865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kern="1200" cap="none" spc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>
                <a:effectLst/>
              </a:rPr>
              <a:t>STRICTLY CONFIDENTIAL</a:t>
            </a:r>
            <a:endParaRPr lang="en-GB" sz="1000" b="1">
              <a:effectLst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C4B19B5-5005-406A-B8D5-877FF13B79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0726" y="6491605"/>
            <a:ext cx="14105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3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3131893D-A0E0-4BEF-8FC1-EE1E60E7E04A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C825179-FA71-4A8D-9799-7E0A4498168A}"/>
              </a:ext>
            </a:extLst>
          </p:cNvPr>
          <p:cNvSpPr/>
          <p:nvPr userDrawn="1"/>
        </p:nvSpPr>
        <p:spPr>
          <a:xfrm>
            <a:off x="-1546860" y="0"/>
            <a:ext cx="1272540" cy="7391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787C16B-EEE3-45DF-8CC8-AB0A6C2207C1}"/>
              </a:ext>
            </a:extLst>
          </p:cNvPr>
          <p:cNvSpPr/>
          <p:nvPr userDrawn="1"/>
        </p:nvSpPr>
        <p:spPr>
          <a:xfrm>
            <a:off x="-1546860" y="1019598"/>
            <a:ext cx="1272540" cy="7391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853D22A-45B4-4DFA-95FA-0DB824EAE2E1}"/>
              </a:ext>
            </a:extLst>
          </p:cNvPr>
          <p:cNvSpPr/>
          <p:nvPr userDrawn="1"/>
        </p:nvSpPr>
        <p:spPr>
          <a:xfrm>
            <a:off x="-1546860" y="2039196"/>
            <a:ext cx="1272540" cy="7391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7B5DC3E-18FA-4A8C-B11F-738986FA6FF9}"/>
              </a:ext>
            </a:extLst>
          </p:cNvPr>
          <p:cNvSpPr/>
          <p:nvPr userDrawn="1"/>
        </p:nvSpPr>
        <p:spPr>
          <a:xfrm>
            <a:off x="-1546860" y="3058794"/>
            <a:ext cx="1272540" cy="73914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593A6A6-906C-405D-8D36-5C9A54B4D74F}"/>
              </a:ext>
            </a:extLst>
          </p:cNvPr>
          <p:cNvSpPr/>
          <p:nvPr userDrawn="1"/>
        </p:nvSpPr>
        <p:spPr>
          <a:xfrm>
            <a:off x="-1546860" y="4078392"/>
            <a:ext cx="1272540" cy="7391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C7AFD0-DD6F-4381-A6C4-18A10FC5837B}"/>
              </a:ext>
            </a:extLst>
          </p:cNvPr>
          <p:cNvSpPr/>
          <p:nvPr userDrawn="1"/>
        </p:nvSpPr>
        <p:spPr>
          <a:xfrm>
            <a:off x="-1546860" y="5097990"/>
            <a:ext cx="1272540" cy="73914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52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08000" indent="-108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b="0" kern="1200" cap="none" spc="0">
          <a:ln w="0"/>
          <a:solidFill>
            <a:schemeClr val="accent3"/>
          </a:solidFill>
          <a:effectLst/>
          <a:latin typeface="+mn-lt"/>
          <a:ea typeface="+mn-ea"/>
          <a:cs typeface="+mn-cs"/>
        </a:defRPr>
      </a:lvl1pPr>
      <a:lvl2pPr marL="360000" indent="-1080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100" kern="1200">
          <a:solidFill>
            <a:schemeClr val="accent3"/>
          </a:solidFill>
          <a:effectLst/>
          <a:latin typeface="+mn-lt"/>
          <a:ea typeface="+mn-ea"/>
          <a:cs typeface="+mn-cs"/>
        </a:defRPr>
      </a:lvl2pPr>
      <a:lvl3pPr marL="612000" indent="-1080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100" kern="1200">
          <a:solidFill>
            <a:schemeClr val="accent3"/>
          </a:solidFill>
          <a:effectLst/>
          <a:latin typeface="+mn-lt"/>
          <a:ea typeface="+mn-ea"/>
          <a:cs typeface="+mn-cs"/>
        </a:defRPr>
      </a:lvl3pPr>
      <a:lvl4pPr marL="864000" indent="-17145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100" kern="1200">
          <a:solidFill>
            <a:schemeClr val="accent3"/>
          </a:solidFill>
          <a:effectLst/>
          <a:latin typeface="+mn-lt"/>
          <a:ea typeface="+mn-ea"/>
          <a:cs typeface="+mn-cs"/>
        </a:defRPr>
      </a:lvl4pPr>
      <a:lvl5pPr marL="1116000" indent="-17145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100" kern="1200">
          <a:solidFill>
            <a:schemeClr val="accent3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9AFB8E27-389B-244C-BE5E-BFD2BE13DD8A}"/>
              </a:ext>
            </a:extLst>
          </p:cNvPr>
          <p:cNvSpPr>
            <a:spLocks noChangeAspect="1"/>
          </p:cNvSpPr>
          <p:nvPr/>
        </p:nvSpPr>
        <p:spPr>
          <a:xfrm>
            <a:off x="838200" y="1884574"/>
            <a:ext cx="6550151" cy="385543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DA2CF47-266E-7247-960C-BECD5627F380}"/>
              </a:ext>
            </a:extLst>
          </p:cNvPr>
          <p:cNvSpPr>
            <a:spLocks noChangeAspect="1"/>
          </p:cNvSpPr>
          <p:nvPr/>
        </p:nvSpPr>
        <p:spPr>
          <a:xfrm>
            <a:off x="838201" y="2889508"/>
            <a:ext cx="4861713" cy="285346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DFEAFB2-CAD7-024E-AD6D-B51FC9CD8948}"/>
              </a:ext>
            </a:extLst>
          </p:cNvPr>
          <p:cNvSpPr>
            <a:spLocks noChangeAspect="1"/>
          </p:cNvSpPr>
          <p:nvPr/>
        </p:nvSpPr>
        <p:spPr>
          <a:xfrm>
            <a:off x="838203" y="3884933"/>
            <a:ext cx="3165719" cy="185804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DA24D2-EEF4-F440-9C3C-411635CDF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evelopment of EPC maturit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1D33F6-493E-B54D-913F-A52FE62CA16F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GB"/>
              <a:t>Characteristics of different EPC maturity levels vs owners elements and contract type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B7A5A30-126C-704D-9162-525C978529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31893D-A0E0-4BEF-8FC1-EE1E60E7E04A}" type="slidenum">
              <a:rPr kumimoji="0" lang="nl-NL" sz="10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Jost Light"/>
                <a:ea typeface="+mn-ea"/>
                <a:cs typeface="Calibri Light" panose="020F030202020403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l-NL" sz="10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Jost Light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23ECE57-6445-F948-8E74-8D1DFA890279}"/>
              </a:ext>
            </a:extLst>
          </p:cNvPr>
          <p:cNvSpPr>
            <a:spLocks noChangeAspect="1"/>
          </p:cNvSpPr>
          <p:nvPr/>
        </p:nvSpPr>
        <p:spPr>
          <a:xfrm>
            <a:off x="838200" y="4808803"/>
            <a:ext cx="1586580" cy="931206"/>
          </a:xfrm>
          <a:prstGeom prst="rect">
            <a:avLst/>
          </a:prstGeom>
          <a:solidFill>
            <a:srgbClr val="FC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</a:rPr>
              <a:t>1. Efficiency</a:t>
            </a:r>
          </a:p>
          <a:p>
            <a:pPr algn="ctr"/>
            <a:r>
              <a:rPr lang="en-GB" sz="1000">
                <a:solidFill>
                  <a:schemeClr val="tx1"/>
                </a:solidFill>
              </a:rPr>
              <a:t>planning &amp; execution</a:t>
            </a:r>
          </a:p>
          <a:p>
            <a:pPr algn="ctr"/>
            <a:r>
              <a:rPr lang="en-GB" sz="1000">
                <a:solidFill>
                  <a:schemeClr val="tx1"/>
                </a:solidFill>
              </a:rPr>
              <a:t>Basic health &amp; safe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3965F3E-252F-7540-99DE-C106A79D0907}"/>
              </a:ext>
            </a:extLst>
          </p:cNvPr>
          <p:cNvSpPr txBox="1"/>
          <p:nvPr/>
        </p:nvSpPr>
        <p:spPr>
          <a:xfrm rot="16200000">
            <a:off x="-1219200" y="3381581"/>
            <a:ext cx="35234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rgbClr val="808080"/>
                </a:solidFill>
              </a:rPr>
              <a:t>Maturity in development chai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22BD33B-8C89-9846-BF28-AF9CD3AFD243}"/>
              </a:ext>
            </a:extLst>
          </p:cNvPr>
          <p:cNvSpPr txBox="1"/>
          <p:nvPr/>
        </p:nvSpPr>
        <p:spPr>
          <a:xfrm>
            <a:off x="3976235" y="5833242"/>
            <a:ext cx="7599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rgbClr val="808080"/>
                </a:solidFill>
              </a:rPr>
              <a:t>Time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3CB64E1-D90F-124D-B87A-8738EF417578}"/>
              </a:ext>
            </a:extLst>
          </p:cNvPr>
          <p:cNvCxnSpPr>
            <a:cxnSpLocks/>
          </p:cNvCxnSpPr>
          <p:nvPr/>
        </p:nvCxnSpPr>
        <p:spPr>
          <a:xfrm flipV="1">
            <a:off x="690634" y="1755648"/>
            <a:ext cx="0" cy="3984360"/>
          </a:xfrm>
          <a:prstGeom prst="straightConnector1">
            <a:avLst/>
          </a:prstGeom>
          <a:ln>
            <a:solidFill>
              <a:srgbClr val="80808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23E080DC-5668-6241-A7AB-E5D9527F8C56}"/>
              </a:ext>
            </a:extLst>
          </p:cNvPr>
          <p:cNvCxnSpPr>
            <a:cxnSpLocks/>
          </p:cNvCxnSpPr>
          <p:nvPr/>
        </p:nvCxnSpPr>
        <p:spPr>
          <a:xfrm>
            <a:off x="838200" y="5892408"/>
            <a:ext cx="6550151" cy="0"/>
          </a:xfrm>
          <a:prstGeom prst="straightConnector1">
            <a:avLst/>
          </a:prstGeom>
          <a:ln>
            <a:solidFill>
              <a:srgbClr val="80808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BAAF97E8-EFE1-B34C-9758-457F8047B8D7}"/>
              </a:ext>
            </a:extLst>
          </p:cNvPr>
          <p:cNvSpPr>
            <a:spLocks noChangeAspect="1"/>
          </p:cNvSpPr>
          <p:nvPr/>
        </p:nvSpPr>
        <p:spPr>
          <a:xfrm>
            <a:off x="2424780" y="3894526"/>
            <a:ext cx="1569724" cy="921313"/>
          </a:xfrm>
          <a:prstGeom prst="rect">
            <a:avLst/>
          </a:prstGeom>
          <a:solidFill>
            <a:srgbClr val="FC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</a:rPr>
              <a:t>2. Effectiveness</a:t>
            </a:r>
          </a:p>
          <a:p>
            <a:pPr algn="ctr"/>
            <a:r>
              <a:rPr lang="en-GB" sz="1000">
                <a:solidFill>
                  <a:schemeClr val="tx1"/>
                </a:solidFill>
              </a:rPr>
              <a:t>design &amp; construct</a:t>
            </a:r>
          </a:p>
          <a:p>
            <a:pPr algn="ctr"/>
            <a:r>
              <a:rPr lang="en-GB" sz="1000">
                <a:solidFill>
                  <a:schemeClr val="tx1"/>
                </a:solidFill>
              </a:rPr>
              <a:t>compliance &amp; QA/QC</a:t>
            </a:r>
          </a:p>
          <a:p>
            <a:pPr algn="ctr"/>
            <a:r>
              <a:rPr lang="en-GB" sz="1000">
                <a:solidFill>
                  <a:schemeClr val="tx1"/>
                </a:solidFill>
              </a:rPr>
              <a:t>Health &amp; Safety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AEC5DA-D754-C44E-A0B5-C57551F88675}"/>
              </a:ext>
            </a:extLst>
          </p:cNvPr>
          <p:cNvSpPr>
            <a:spLocks noChangeAspect="1"/>
          </p:cNvSpPr>
          <p:nvPr/>
        </p:nvSpPr>
        <p:spPr>
          <a:xfrm>
            <a:off x="4016113" y="2889385"/>
            <a:ext cx="1683801" cy="1000288"/>
          </a:xfrm>
          <a:prstGeom prst="rect">
            <a:avLst/>
          </a:prstGeom>
          <a:solidFill>
            <a:srgbClr val="FC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</a:rPr>
              <a:t>3. Performance</a:t>
            </a:r>
          </a:p>
          <a:p>
            <a:pPr algn="ctr"/>
            <a:r>
              <a:rPr lang="en-GB" sz="1000">
                <a:solidFill>
                  <a:schemeClr val="tx1"/>
                </a:solidFill>
              </a:rPr>
              <a:t>Output &amp; risk transfer</a:t>
            </a:r>
          </a:p>
          <a:p>
            <a:pPr algn="ctr"/>
            <a:r>
              <a:rPr lang="en-GB" sz="1000">
                <a:solidFill>
                  <a:schemeClr val="tx1"/>
                </a:solidFill>
              </a:rPr>
              <a:t>Innovation &amp; optimalisation</a:t>
            </a:r>
          </a:p>
          <a:p>
            <a:pPr algn="ctr"/>
            <a:r>
              <a:rPr lang="en-GB" sz="1000">
                <a:solidFill>
                  <a:schemeClr val="tx1"/>
                </a:solidFill>
              </a:rPr>
              <a:t>environmental &amp; social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459D2DA-D303-374A-9A3D-66B5D642B55C}"/>
              </a:ext>
            </a:extLst>
          </p:cNvPr>
          <p:cNvSpPr>
            <a:spLocks noChangeAspect="1"/>
          </p:cNvSpPr>
          <p:nvPr/>
        </p:nvSpPr>
        <p:spPr>
          <a:xfrm>
            <a:off x="5704550" y="1884574"/>
            <a:ext cx="1683801" cy="1000288"/>
          </a:xfrm>
          <a:prstGeom prst="rect">
            <a:avLst/>
          </a:prstGeom>
          <a:solidFill>
            <a:srgbClr val="FC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</a:rPr>
              <a:t>4. Life time caretaker</a:t>
            </a:r>
          </a:p>
          <a:p>
            <a:pPr algn="ctr"/>
            <a:r>
              <a:rPr lang="en-GB" sz="1000">
                <a:solidFill>
                  <a:schemeClr val="tx1"/>
                </a:solidFill>
              </a:rPr>
              <a:t>EPC + OM (TCO)</a:t>
            </a:r>
          </a:p>
          <a:p>
            <a:pPr algn="ctr"/>
            <a:r>
              <a:rPr lang="en-GB" sz="1000">
                <a:solidFill>
                  <a:schemeClr val="tx1"/>
                </a:solidFill>
              </a:rPr>
              <a:t>Stakeholder </a:t>
            </a:r>
            <a:r>
              <a:rPr lang="en-GB" sz="1000" err="1">
                <a:solidFill>
                  <a:schemeClr val="tx1"/>
                </a:solidFill>
              </a:rPr>
              <a:t>mgt</a:t>
            </a:r>
            <a:endParaRPr lang="en-GB" sz="100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27855B6-6C93-994D-9C18-DEDEF4E3FE89}"/>
              </a:ext>
            </a:extLst>
          </p:cNvPr>
          <p:cNvSpPr>
            <a:spLocks noChangeAspect="1"/>
          </p:cNvSpPr>
          <p:nvPr/>
        </p:nvSpPr>
        <p:spPr>
          <a:xfrm>
            <a:off x="7454882" y="1890195"/>
            <a:ext cx="1973845" cy="1000288"/>
          </a:xfrm>
          <a:prstGeom prst="rect">
            <a:avLst/>
          </a:prstGeom>
          <a:solidFill>
            <a:srgbClr val="B886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bg1"/>
                </a:solidFill>
              </a:rPr>
              <a:t>Private Finance / BOT</a:t>
            </a:r>
          </a:p>
          <a:p>
            <a:pPr algn="ctr"/>
            <a:r>
              <a:rPr lang="en-GB" sz="1200">
                <a:solidFill>
                  <a:schemeClr val="bg1"/>
                </a:solidFill>
              </a:rPr>
              <a:t>No major unforeseen risks</a:t>
            </a:r>
          </a:p>
          <a:p>
            <a:pPr algn="ctr"/>
            <a:r>
              <a:rPr lang="en-GB" sz="1200">
                <a:solidFill>
                  <a:schemeClr val="bg1"/>
                </a:solidFill>
              </a:rPr>
              <a:t>Minimum owners EPCM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C8D629F-13A3-254C-8989-FE1078278119}"/>
              </a:ext>
            </a:extLst>
          </p:cNvPr>
          <p:cNvSpPr>
            <a:spLocks noChangeAspect="1"/>
          </p:cNvSpPr>
          <p:nvPr/>
        </p:nvSpPr>
        <p:spPr>
          <a:xfrm>
            <a:off x="7454881" y="2905870"/>
            <a:ext cx="1973845" cy="984683"/>
          </a:xfrm>
          <a:prstGeom prst="rect">
            <a:avLst/>
          </a:prstGeom>
          <a:solidFill>
            <a:srgbClr val="B886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bg1"/>
                </a:solidFill>
              </a:rPr>
              <a:t>Private Finance / BOT</a:t>
            </a:r>
          </a:p>
          <a:p>
            <a:pPr algn="ctr"/>
            <a:r>
              <a:rPr lang="en-GB" sz="1200">
                <a:solidFill>
                  <a:schemeClr val="bg1"/>
                </a:solidFill>
              </a:rPr>
              <a:t>No major unforeseen risks</a:t>
            </a:r>
          </a:p>
          <a:p>
            <a:pPr algn="ctr"/>
            <a:r>
              <a:rPr lang="en-GB" sz="1200">
                <a:solidFill>
                  <a:schemeClr val="bg1"/>
                </a:solidFill>
              </a:rPr>
              <a:t>Design responsibility transfer</a:t>
            </a:r>
          </a:p>
          <a:p>
            <a:pPr algn="ctr"/>
            <a:r>
              <a:rPr lang="en-GB" sz="1200">
                <a:solidFill>
                  <a:schemeClr val="bg1"/>
                </a:solidFill>
              </a:rPr>
              <a:t>Owners EPCM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6968029-EB8C-F14D-A4D1-13DD25D90961}"/>
              </a:ext>
            </a:extLst>
          </p:cNvPr>
          <p:cNvSpPr>
            <a:spLocks noChangeAspect="1"/>
          </p:cNvSpPr>
          <p:nvPr/>
        </p:nvSpPr>
        <p:spPr>
          <a:xfrm>
            <a:off x="7454880" y="3912680"/>
            <a:ext cx="1973845" cy="908780"/>
          </a:xfrm>
          <a:prstGeom prst="rect">
            <a:avLst/>
          </a:prstGeom>
          <a:solidFill>
            <a:srgbClr val="B886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bg1"/>
                </a:solidFill>
              </a:rPr>
              <a:t>Fixed scope &amp; price, but quite some risks at Owner</a:t>
            </a:r>
          </a:p>
          <a:p>
            <a:pPr algn="ctr"/>
            <a:r>
              <a:rPr lang="en-GB" sz="1200">
                <a:solidFill>
                  <a:schemeClr val="bg1"/>
                </a:solidFill>
              </a:rPr>
              <a:t>Day-to-day supervision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A28D139-BBC9-D04B-B7F5-F0544D72B851}"/>
              </a:ext>
            </a:extLst>
          </p:cNvPr>
          <p:cNvSpPr>
            <a:spLocks noChangeAspect="1"/>
          </p:cNvSpPr>
          <p:nvPr/>
        </p:nvSpPr>
        <p:spPr>
          <a:xfrm>
            <a:off x="7454878" y="4836847"/>
            <a:ext cx="1973845" cy="908780"/>
          </a:xfrm>
          <a:prstGeom prst="rect">
            <a:avLst/>
          </a:prstGeom>
          <a:solidFill>
            <a:srgbClr val="B886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bg1"/>
                </a:solidFill>
              </a:rPr>
              <a:t>Owners’ design</a:t>
            </a:r>
          </a:p>
          <a:p>
            <a:pPr algn="ctr"/>
            <a:r>
              <a:rPr lang="en-GB" sz="1200">
                <a:solidFill>
                  <a:schemeClr val="bg1"/>
                </a:solidFill>
              </a:rPr>
              <a:t>Unit based price not fixed</a:t>
            </a:r>
          </a:p>
          <a:p>
            <a:pPr algn="ctr"/>
            <a:r>
              <a:rPr lang="en-GB" sz="1200">
                <a:solidFill>
                  <a:schemeClr val="bg1"/>
                </a:solidFill>
              </a:rPr>
              <a:t>Day-to-day instruction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E635590-B0A9-1946-A65E-DD1C02DE9BA5}"/>
              </a:ext>
            </a:extLst>
          </p:cNvPr>
          <p:cNvSpPr txBox="1"/>
          <p:nvPr/>
        </p:nvSpPr>
        <p:spPr>
          <a:xfrm>
            <a:off x="7400534" y="1487170"/>
            <a:ext cx="197383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600">
                <a:solidFill>
                  <a:srgbClr val="808080"/>
                </a:solidFill>
              </a:rPr>
              <a:t>Owners’ Elements</a:t>
            </a:r>
            <a:endParaRPr lang="en-GB" sz="160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C956014-32AF-2041-80D5-AFB5561F8406}"/>
              </a:ext>
            </a:extLst>
          </p:cNvPr>
          <p:cNvSpPr>
            <a:spLocks noChangeAspect="1"/>
          </p:cNvSpPr>
          <p:nvPr/>
        </p:nvSpPr>
        <p:spPr>
          <a:xfrm>
            <a:off x="9486637" y="1884575"/>
            <a:ext cx="1973845" cy="1000288"/>
          </a:xfrm>
          <a:prstGeom prst="rect">
            <a:avLst/>
          </a:prstGeom>
          <a:solidFill>
            <a:srgbClr val="B886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bg1"/>
                </a:solidFill>
              </a:rPr>
              <a:t>FIDIC Gold Book</a:t>
            </a:r>
          </a:p>
          <a:p>
            <a:pPr algn="ctr"/>
            <a:r>
              <a:rPr lang="en-GB" sz="1000">
                <a:solidFill>
                  <a:schemeClr val="bg1"/>
                </a:solidFill>
              </a:rPr>
              <a:t>(Design, Build and Operate)</a:t>
            </a:r>
          </a:p>
          <a:p>
            <a:pPr algn="ctr"/>
            <a:r>
              <a:rPr lang="en-GB" sz="1000">
                <a:solidFill>
                  <a:schemeClr val="bg1"/>
                </a:solidFill>
              </a:rPr>
              <a:t>incentives for EPC + O&amp;M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A6CF2FE-EA9B-DD4A-AD3C-E3669EA52B46}"/>
              </a:ext>
            </a:extLst>
          </p:cNvPr>
          <p:cNvSpPr>
            <a:spLocks noChangeAspect="1"/>
          </p:cNvSpPr>
          <p:nvPr/>
        </p:nvSpPr>
        <p:spPr>
          <a:xfrm>
            <a:off x="9486636" y="2900250"/>
            <a:ext cx="1973845" cy="984683"/>
          </a:xfrm>
          <a:prstGeom prst="rect">
            <a:avLst/>
          </a:prstGeom>
          <a:solidFill>
            <a:srgbClr val="B886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bg1"/>
                </a:solidFill>
              </a:rPr>
              <a:t>FIDIC Silver Book</a:t>
            </a:r>
          </a:p>
          <a:p>
            <a:pPr algn="ctr"/>
            <a:r>
              <a:rPr lang="en-GB" sz="1000">
                <a:solidFill>
                  <a:schemeClr val="bg1"/>
                </a:solidFill>
              </a:rPr>
              <a:t>(EPC/Turnkey Contract) </a:t>
            </a:r>
          </a:p>
          <a:p>
            <a:pPr algn="ctr"/>
            <a:r>
              <a:rPr lang="en-GB" sz="1000">
                <a:solidFill>
                  <a:schemeClr val="bg1"/>
                </a:solidFill>
              </a:rPr>
              <a:t>incentives for EPC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03FFA40-A18E-9743-BB20-2032DD99FE0C}"/>
              </a:ext>
            </a:extLst>
          </p:cNvPr>
          <p:cNvSpPr>
            <a:spLocks noChangeAspect="1"/>
          </p:cNvSpPr>
          <p:nvPr/>
        </p:nvSpPr>
        <p:spPr>
          <a:xfrm>
            <a:off x="9486635" y="3907060"/>
            <a:ext cx="1973845" cy="908780"/>
          </a:xfrm>
          <a:prstGeom prst="rect">
            <a:avLst/>
          </a:prstGeom>
          <a:solidFill>
            <a:srgbClr val="B886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bg1"/>
                </a:solidFill>
              </a:rPr>
              <a:t>FIDIC Yellow Book</a:t>
            </a:r>
          </a:p>
          <a:p>
            <a:pPr algn="ctr"/>
            <a:r>
              <a:rPr lang="en-GB" sz="1000">
                <a:solidFill>
                  <a:schemeClr val="bg1"/>
                </a:solidFill>
              </a:rPr>
              <a:t>(Plant &amp; Design Build)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92DDD17A-D5A6-6C45-8474-90BE1889D4EA}"/>
              </a:ext>
            </a:extLst>
          </p:cNvPr>
          <p:cNvSpPr>
            <a:spLocks noChangeAspect="1"/>
          </p:cNvSpPr>
          <p:nvPr/>
        </p:nvSpPr>
        <p:spPr>
          <a:xfrm>
            <a:off x="9486633" y="4831227"/>
            <a:ext cx="1973845" cy="908780"/>
          </a:xfrm>
          <a:prstGeom prst="rect">
            <a:avLst/>
          </a:prstGeom>
          <a:solidFill>
            <a:srgbClr val="B886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bg1"/>
                </a:solidFill>
              </a:rPr>
              <a:t>FIDIC Green Book </a:t>
            </a:r>
          </a:p>
          <a:p>
            <a:pPr algn="ctr"/>
            <a:r>
              <a:rPr lang="en-GB" sz="1000">
                <a:solidFill>
                  <a:schemeClr val="bg1"/>
                </a:solidFill>
              </a:rPr>
              <a:t>(Short Form of Contract)</a:t>
            </a:r>
          </a:p>
          <a:p>
            <a:pPr algn="ctr"/>
            <a:r>
              <a:rPr lang="en-GB" sz="1200">
                <a:solidFill>
                  <a:schemeClr val="bg1"/>
                </a:solidFill>
              </a:rPr>
              <a:t>FIDIC Red Book </a:t>
            </a:r>
          </a:p>
          <a:p>
            <a:pPr algn="ctr"/>
            <a:r>
              <a:rPr lang="en-GB" sz="1000">
                <a:solidFill>
                  <a:schemeClr val="bg1"/>
                </a:solidFill>
              </a:rPr>
              <a:t>(Construction contract)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A3DAA3A-E4FC-B74A-8CB2-AAB5D6C0390D}"/>
              </a:ext>
            </a:extLst>
          </p:cNvPr>
          <p:cNvSpPr txBox="1"/>
          <p:nvPr/>
        </p:nvSpPr>
        <p:spPr>
          <a:xfrm>
            <a:off x="9486632" y="1506396"/>
            <a:ext cx="197383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600">
                <a:solidFill>
                  <a:srgbClr val="808080"/>
                </a:solidFill>
              </a:rPr>
              <a:t>Contract type (FIDIC)</a:t>
            </a:r>
            <a:endParaRPr lang="en-GB" sz="1600"/>
          </a:p>
        </p:txBody>
      </p:sp>
    </p:spTree>
    <p:extLst>
      <p:ext uri="{BB962C8B-B14F-4D97-AF65-F5344CB8AC3E}">
        <p14:creationId xmlns:p14="http://schemas.microsoft.com/office/powerpoint/2010/main" val="35319494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DA24D2-EEF4-F440-9C3C-411635CDF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ypical elemen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1D33F6-493E-B54D-913F-A52FE62CA16F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GB"/>
              <a:t>Characteristics of different EPC maturity levels and what this requires from owner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B7A5A30-126C-704D-9162-525C978529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31893D-A0E0-4BEF-8FC1-EE1E60E7E04A}" type="slidenum">
              <a:rPr kumimoji="0" lang="nl-NL" sz="10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Jost Light"/>
                <a:ea typeface="+mn-ea"/>
                <a:cs typeface="Calibri Light" panose="020F030202020403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l-NL" sz="10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Jost Light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E3B893F-9BF9-004F-AFA6-3B27CBE91C74}"/>
              </a:ext>
            </a:extLst>
          </p:cNvPr>
          <p:cNvSpPr>
            <a:spLocks noChangeAspect="1"/>
          </p:cNvSpPr>
          <p:nvPr/>
        </p:nvSpPr>
        <p:spPr>
          <a:xfrm>
            <a:off x="928214" y="1590306"/>
            <a:ext cx="2406922" cy="770990"/>
          </a:xfrm>
          <a:prstGeom prst="rect">
            <a:avLst/>
          </a:prstGeom>
          <a:solidFill>
            <a:srgbClr val="FC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</a:rPr>
              <a:t>1. Efficiency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D5D916A-F5B0-DB4E-9DBE-17EBFEF413FD}"/>
              </a:ext>
            </a:extLst>
          </p:cNvPr>
          <p:cNvSpPr>
            <a:spLocks noChangeAspect="1"/>
          </p:cNvSpPr>
          <p:nvPr/>
        </p:nvSpPr>
        <p:spPr>
          <a:xfrm>
            <a:off x="3431098" y="1600199"/>
            <a:ext cx="2381351" cy="762799"/>
          </a:xfrm>
          <a:prstGeom prst="rect">
            <a:avLst/>
          </a:prstGeom>
          <a:solidFill>
            <a:srgbClr val="FC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</a:rPr>
              <a:t>2. Effectivenes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17ACA77-F723-0D4F-8CC2-86E3D908F14B}"/>
              </a:ext>
            </a:extLst>
          </p:cNvPr>
          <p:cNvSpPr>
            <a:spLocks noChangeAspect="1"/>
          </p:cNvSpPr>
          <p:nvPr/>
        </p:nvSpPr>
        <p:spPr>
          <a:xfrm>
            <a:off x="8558784" y="1600199"/>
            <a:ext cx="2554411" cy="777241"/>
          </a:xfrm>
          <a:prstGeom prst="rect">
            <a:avLst/>
          </a:prstGeom>
          <a:solidFill>
            <a:srgbClr val="FC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</a:rPr>
              <a:t>4. Life time caretaker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A55700D-A888-0B4A-8061-789D5139F45C}"/>
              </a:ext>
            </a:extLst>
          </p:cNvPr>
          <p:cNvSpPr>
            <a:spLocks noChangeAspect="1"/>
          </p:cNvSpPr>
          <p:nvPr/>
        </p:nvSpPr>
        <p:spPr>
          <a:xfrm>
            <a:off x="5908411" y="1590306"/>
            <a:ext cx="2554411" cy="792209"/>
          </a:xfrm>
          <a:prstGeom prst="rect">
            <a:avLst/>
          </a:prstGeom>
          <a:solidFill>
            <a:srgbClr val="FC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</a:rPr>
              <a:t>3. Performanc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B80371A-E947-1745-8CCC-71AF5030C77F}"/>
              </a:ext>
            </a:extLst>
          </p:cNvPr>
          <p:cNvSpPr>
            <a:spLocks noChangeAspect="1"/>
          </p:cNvSpPr>
          <p:nvPr/>
        </p:nvSpPr>
        <p:spPr>
          <a:xfrm>
            <a:off x="928214" y="2503801"/>
            <a:ext cx="2406922" cy="3541777"/>
          </a:xfrm>
          <a:prstGeom prst="rect">
            <a:avLst/>
          </a:prstGeom>
          <a:noFill/>
          <a:ln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Workmansh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Work plan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Internal supervis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Reactive Health &amp; Safe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More work = more reven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Basic quality standards (ISO900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Internal focus</a:t>
            </a:r>
          </a:p>
          <a:p>
            <a:endParaRPr lang="en-GB" sz="1400">
              <a:solidFill>
                <a:schemeClr val="tx1"/>
              </a:solidFill>
            </a:endParaRPr>
          </a:p>
          <a:p>
            <a:endParaRPr lang="en-GB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Basic 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No contract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No in-house lawy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No stakeholder managemen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2F2BD02-E934-714B-8001-2F9CED0E2596}"/>
              </a:ext>
            </a:extLst>
          </p:cNvPr>
          <p:cNvSpPr>
            <a:spLocks noChangeAspect="1"/>
          </p:cNvSpPr>
          <p:nvPr/>
        </p:nvSpPr>
        <p:spPr>
          <a:xfrm>
            <a:off x="3405527" y="2515397"/>
            <a:ext cx="2406922" cy="3541777"/>
          </a:xfrm>
          <a:prstGeom prst="rect">
            <a:avLst/>
          </a:prstGeom>
          <a:noFill/>
          <a:ln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All elements of level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Able to optimize &amp; work out owners’ desig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Fully integrated quality policies, control and audi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Health &amp; Safety is actively monitored/repor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Basic certificates similar to ISO45001 and ISO1400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High level of QA/QC</a:t>
            </a:r>
          </a:p>
          <a:p>
            <a:endParaRPr lang="en-GB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Contract management (subcontractors &amp; clie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Parts of design outsourced</a:t>
            </a:r>
          </a:p>
          <a:p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5241027-3655-6243-BDF0-364CFDBD93B2}"/>
              </a:ext>
            </a:extLst>
          </p:cNvPr>
          <p:cNvSpPr>
            <a:spLocks noChangeAspect="1"/>
          </p:cNvSpPr>
          <p:nvPr/>
        </p:nvSpPr>
        <p:spPr>
          <a:xfrm>
            <a:off x="5908411" y="2503800"/>
            <a:ext cx="2554410" cy="3541777"/>
          </a:xfrm>
          <a:prstGeom prst="rect">
            <a:avLst/>
          </a:prstGeom>
          <a:noFill/>
          <a:ln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All elements of level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Focus on client and performance (improveme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Design includes Basic Engineering. Familiar with system engine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Excellent culture of Quality and HSE (visi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IT: BIM, integrated design packages, 3D modelling</a:t>
            </a:r>
          </a:p>
          <a:p>
            <a:endParaRPr lang="en-GB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err="1">
                <a:solidFill>
                  <a:schemeClr val="tx1"/>
                </a:solidFill>
              </a:rPr>
              <a:t>Mgt</a:t>
            </a:r>
            <a:r>
              <a:rPr lang="en-GB" sz="1400">
                <a:solidFill>
                  <a:schemeClr val="tx1"/>
                </a:solidFill>
              </a:rPr>
              <a:t> of design interfa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Stakeholders </a:t>
            </a:r>
            <a:r>
              <a:rPr lang="en-GB" sz="1400" err="1">
                <a:solidFill>
                  <a:schemeClr val="tx1"/>
                </a:solidFill>
              </a:rPr>
              <a:t>mgt</a:t>
            </a:r>
            <a:r>
              <a:rPr lang="en-GB" sz="1400">
                <a:solidFill>
                  <a:schemeClr val="tx1"/>
                </a:solidFill>
              </a:rPr>
              <a:t> EPC ph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In-house legal suppor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DF8EDD2-88CB-2445-86E3-CC6C2534ABCC}"/>
              </a:ext>
            </a:extLst>
          </p:cNvPr>
          <p:cNvSpPr>
            <a:spLocks noChangeAspect="1"/>
          </p:cNvSpPr>
          <p:nvPr/>
        </p:nvSpPr>
        <p:spPr>
          <a:xfrm>
            <a:off x="8558784" y="2529840"/>
            <a:ext cx="2554410" cy="3515738"/>
          </a:xfrm>
          <a:prstGeom prst="rect">
            <a:avLst/>
          </a:prstGeom>
          <a:noFill/>
          <a:ln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All elements of level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Focus on all stakehol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Design and execution focuses on total costs of ownership &amp; revenue optim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Managed Services for cli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IT: design and operational software is integrated</a:t>
            </a:r>
          </a:p>
          <a:p>
            <a:endParaRPr lang="en-GB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Senior stakeholder </a:t>
            </a:r>
            <a:r>
              <a:rPr lang="en-GB" sz="1400" err="1">
                <a:solidFill>
                  <a:schemeClr val="tx1"/>
                </a:solidFill>
              </a:rPr>
              <a:t>mgt</a:t>
            </a:r>
            <a:r>
              <a:rPr lang="en-GB" sz="1400">
                <a:solidFill>
                  <a:schemeClr val="tx1"/>
                </a:solidFill>
              </a:rPr>
              <a:t>, well connected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Stakeholder in proje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Development experience</a:t>
            </a:r>
          </a:p>
        </p:txBody>
      </p:sp>
    </p:spTree>
    <p:extLst>
      <p:ext uri="{BB962C8B-B14F-4D97-AF65-F5344CB8AC3E}">
        <p14:creationId xmlns:p14="http://schemas.microsoft.com/office/powerpoint/2010/main" val="21908585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67V_ebA48jvR6nZzXV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Aangepast 1">
      <a:dk1>
        <a:sysClr val="windowText" lastClr="000000"/>
      </a:dk1>
      <a:lt1>
        <a:sysClr val="window" lastClr="FFFFFF"/>
      </a:lt1>
      <a:dk2>
        <a:srgbClr val="000000"/>
      </a:dk2>
      <a:lt2>
        <a:srgbClr val="E7E6E6"/>
      </a:lt2>
      <a:accent1>
        <a:srgbClr val="B8860B"/>
      </a:accent1>
      <a:accent2>
        <a:srgbClr val="27B89D"/>
      </a:accent2>
      <a:accent3>
        <a:srgbClr val="80808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Harvest Waste">
      <a:majorFont>
        <a:latin typeface="Jost Medium"/>
        <a:ea typeface=""/>
        <a:cs typeface=""/>
      </a:majorFont>
      <a:minorFont>
        <a:latin typeface="Jos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17E05A209F474288CC0960A0D976AA" ma:contentTypeVersion="6" ma:contentTypeDescription="Create a new document." ma:contentTypeScope="" ma:versionID="43ae7c2d4e2868b3d4e7167511d848a6">
  <xsd:schema xmlns:xsd="http://www.w3.org/2001/XMLSchema" xmlns:xs="http://www.w3.org/2001/XMLSchema" xmlns:p="http://schemas.microsoft.com/office/2006/metadata/properties" xmlns:ns2="44ed4692-3252-4583-a46d-ba412b057162" xmlns:ns3="a6deb8a7-d565-46f7-ac45-16bfecbe0b3f" targetNamespace="http://schemas.microsoft.com/office/2006/metadata/properties" ma:root="true" ma:fieldsID="80503f125dbd024a90a3d3079fa93b42" ns2:_="" ns3:_="">
    <xsd:import namespace="44ed4692-3252-4583-a46d-ba412b057162"/>
    <xsd:import namespace="a6deb8a7-d565-46f7-ac45-16bfecbe0b3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ed4692-3252-4583-a46d-ba412b05716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deb8a7-d565-46f7-ac45-16bfecbe0b3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F875F8-6D44-4EA6-9E4F-1B45E4EE83EA}">
  <ds:schemaRefs>
    <ds:schemaRef ds:uri="44ed4692-3252-4583-a46d-ba412b057162"/>
    <ds:schemaRef ds:uri="a6deb8a7-d565-46f7-ac45-16bfecbe0b3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E469F4B-B2FE-4E28-8EFB-5D4BEBA187D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772C6F6-B3C9-4992-94DB-AE8DC28B62AD}">
  <ds:schemaRefs>
    <ds:schemaRef ds:uri="44ed4692-3252-4583-a46d-ba412b057162"/>
    <ds:schemaRef ds:uri="a6deb8a7-d565-46f7-ac45-16bfecbe0b3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2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Kantoorthema</vt:lpstr>
      <vt:lpstr>Development of EPC maturity</vt:lpstr>
      <vt:lpstr>Typical eleme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eakdown of the plant </dc:title>
  <dc:creator>Lars Rijswijk</dc:creator>
  <cp:revision>1</cp:revision>
  <dcterms:created xsi:type="dcterms:W3CDTF">2022-03-02T08:05:07Z</dcterms:created>
  <dcterms:modified xsi:type="dcterms:W3CDTF">2022-03-03T08:31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17E05A209F474288CC0960A0D976AA</vt:lpwstr>
  </property>
</Properties>
</file>